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7b8273dd61f5437a" Type="http://schemas.microsoft.com/office/2007/relationships/ui/extensibility" Target="customUI/customUI14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768" r:id="rId1"/>
  </p:sldMasterIdLst>
  <p:notesMasterIdLst>
    <p:notesMasterId r:id="rId9"/>
  </p:notesMasterIdLst>
  <p:handoutMasterIdLst>
    <p:handoutMasterId r:id="rId10"/>
  </p:handoutMasterIdLst>
  <p:sldIdLst>
    <p:sldId id="696" r:id="rId2"/>
    <p:sldId id="707" r:id="rId3"/>
    <p:sldId id="703" r:id="rId4"/>
    <p:sldId id="698" r:id="rId5"/>
    <p:sldId id="699" r:id="rId6"/>
    <p:sldId id="700" r:id="rId7"/>
    <p:sldId id="701" r:id="rId8"/>
  </p:sldIdLst>
  <p:sldSz cx="9602788" cy="6858000"/>
  <p:notesSz cx="7010400" cy="9296400"/>
  <p:custDataLst>
    <p:tags r:id="rId11"/>
  </p:custDataLst>
  <p:defaultTextStyle>
    <a:defPPr>
      <a:defRPr lang="en-GB"/>
    </a:defPPr>
    <a:lvl1pPr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36" userDrawn="1">
          <p15:clr>
            <a:srgbClr val="A4A3A4"/>
          </p15:clr>
        </p15:guide>
        <p15:guide id="2" orient="horz" pos="881" userDrawn="1">
          <p15:clr>
            <a:srgbClr val="A4A3A4"/>
          </p15:clr>
        </p15:guide>
        <p15:guide id="3" orient="horz" pos="3992" userDrawn="1">
          <p15:clr>
            <a:srgbClr val="A4A3A4"/>
          </p15:clr>
        </p15:guide>
        <p15:guide id="4" orient="horz" pos="4319">
          <p15:clr>
            <a:srgbClr val="A4A3A4"/>
          </p15:clr>
        </p15:guide>
        <p15:guide id="5" pos="288">
          <p15:clr>
            <a:srgbClr val="A4A3A4"/>
          </p15:clr>
        </p15:guide>
        <p15:guide id="6" pos="5765" userDrawn="1">
          <p15:clr>
            <a:srgbClr val="A4A3A4"/>
          </p15:clr>
        </p15:guide>
        <p15:guide id="7" orient="horz" pos="20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F6E6"/>
    <a:srgbClr val="FFFFCC"/>
    <a:srgbClr val="FFCCCC"/>
    <a:srgbClr val="FCE0E2"/>
    <a:srgbClr val="FFDDDD"/>
    <a:srgbClr val="008AB3"/>
    <a:srgbClr val="D7E4BD"/>
    <a:srgbClr val="FF0000"/>
    <a:srgbClr val="BFBFBF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Oliver Wyman - defaul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4"/>
              </a:solidFill>
            </a:ln>
          </a:bottom>
          <a:insideH>
            <a:ln w="9525" cap="flat" cmpd="sng" algn="ctr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710" autoAdjust="0"/>
    <p:restoredTop sz="99858" autoAdjust="0"/>
  </p:normalViewPr>
  <p:slideViewPr>
    <p:cSldViewPr snapToGrid="0" showGuides="1">
      <p:cViewPr>
        <p:scale>
          <a:sx n="100" d="100"/>
          <a:sy n="100" d="100"/>
        </p:scale>
        <p:origin x="-858" y="936"/>
      </p:cViewPr>
      <p:guideLst>
        <p:guide orient="horz" pos="4083"/>
        <p:guide orient="horz" pos="1107"/>
        <p:guide orient="horz" pos="893"/>
        <p:guide pos="221"/>
        <p:guide pos="582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75" d="100"/>
          <a:sy n="75" d="100"/>
        </p:scale>
        <p:origin x="-2802" y="-72"/>
      </p:cViewPr>
      <p:guideLst>
        <p:guide orient="horz" pos="2928"/>
        <p:guide pos="22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1"/>
            <a:ext cx="3037734" cy="46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475" tIns="47238" rIns="94475" bIns="47238" numCol="1" anchor="t" anchorCtr="0" compatLnSpc="1">
            <a:prstTxWarp prst="textNoShape">
              <a:avLst/>
            </a:prstTxWarp>
          </a:bodyPr>
          <a:lstStyle>
            <a:lvl1pPr algn="l" defTabSz="944967">
              <a:lnSpc>
                <a:spcPct val="100000"/>
              </a:lnSpc>
              <a:defRPr sz="1200"/>
            </a:lvl1pPr>
          </a:lstStyle>
          <a:p>
            <a:endParaRPr lang="en-GB" dirty="0">
              <a:latin typeface="+mn-lt"/>
              <a:ea typeface="+mn-lt"/>
              <a:sym typeface="Arial"/>
            </a:endParaRP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1084" y="1"/>
            <a:ext cx="3037734" cy="46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475" tIns="47238" rIns="94475" bIns="47238" numCol="1" anchor="t" anchorCtr="0" compatLnSpc="1">
            <a:prstTxWarp prst="textNoShape">
              <a:avLst/>
            </a:prstTxWarp>
          </a:bodyPr>
          <a:lstStyle>
            <a:lvl1pPr algn="r" defTabSz="944967">
              <a:lnSpc>
                <a:spcPct val="100000"/>
              </a:lnSpc>
              <a:defRPr sz="1200"/>
            </a:lvl1pPr>
          </a:lstStyle>
          <a:p>
            <a:endParaRPr lang="en-GB" dirty="0">
              <a:latin typeface="+mn-lt"/>
              <a:ea typeface="+mn-lt"/>
              <a:sym typeface="Arial"/>
            </a:endParaRPr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8830313"/>
            <a:ext cx="3037734" cy="46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475" tIns="47238" rIns="94475" bIns="47238" numCol="1" anchor="b" anchorCtr="0" compatLnSpc="1">
            <a:prstTxWarp prst="textNoShape">
              <a:avLst/>
            </a:prstTxWarp>
          </a:bodyPr>
          <a:lstStyle>
            <a:lvl1pPr algn="l" defTabSz="944967">
              <a:lnSpc>
                <a:spcPct val="100000"/>
              </a:lnSpc>
              <a:defRPr sz="1200"/>
            </a:lvl1pPr>
          </a:lstStyle>
          <a:p>
            <a:endParaRPr lang="en-GB" dirty="0">
              <a:solidFill>
                <a:schemeClr val="accent3"/>
              </a:solidFill>
              <a:latin typeface="+mn-lt"/>
              <a:ea typeface="+mn-lt"/>
              <a:sym typeface="Arial"/>
            </a:endParaRPr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1084" y="8830313"/>
            <a:ext cx="3037734" cy="46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475" tIns="47238" rIns="94475" bIns="47238" numCol="1" anchor="b" anchorCtr="0" compatLnSpc="1">
            <a:prstTxWarp prst="textNoShape">
              <a:avLst/>
            </a:prstTxWarp>
          </a:bodyPr>
          <a:lstStyle>
            <a:lvl1pPr algn="r" defTabSz="944967">
              <a:lnSpc>
                <a:spcPct val="100000"/>
              </a:lnSpc>
              <a:defRPr sz="1200"/>
            </a:lvl1pPr>
          </a:lstStyle>
          <a:p>
            <a:fld id="{9BBE641A-A38A-4199-A515-2A762F6E34D5}" type="slidenum">
              <a:rPr lang="en-GB" smtClean="0">
                <a:solidFill>
                  <a:schemeClr val="accent3"/>
                </a:solidFill>
                <a:latin typeface="+mn-lt"/>
                <a:ea typeface="+mn-lt"/>
                <a:sym typeface="Arial"/>
              </a:rPr>
              <a:pPr/>
              <a:t>‹#›</a:t>
            </a:fld>
            <a:endParaRPr lang="en-GB" dirty="0">
              <a:solidFill>
                <a:schemeClr val="accent3"/>
              </a:solidFill>
              <a:latin typeface="+mn-lt"/>
              <a:ea typeface="+mn-lt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835035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1"/>
            <a:ext cx="3037734" cy="46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475" tIns="47238" rIns="94475" bIns="47238" numCol="1" anchor="t" anchorCtr="0" compatLnSpc="1">
            <a:prstTxWarp prst="textNoShape">
              <a:avLst/>
            </a:prstTxWarp>
          </a:bodyPr>
          <a:lstStyle>
            <a:lvl1pPr algn="l" defTabSz="944967">
              <a:lnSpc>
                <a:spcPct val="100000"/>
              </a:lnSpc>
              <a:defRPr sz="1200"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1084" y="1"/>
            <a:ext cx="3037734" cy="46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475" tIns="47238" rIns="94475" bIns="47238" numCol="1" anchor="t" anchorCtr="0" compatLnSpc="1">
            <a:prstTxWarp prst="textNoShape">
              <a:avLst/>
            </a:prstTxWarp>
          </a:bodyPr>
          <a:lstStyle>
            <a:lvl1pPr algn="r" defTabSz="944967">
              <a:lnSpc>
                <a:spcPct val="100000"/>
              </a:lnSpc>
              <a:defRPr sz="1200"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65213" y="696913"/>
            <a:ext cx="4883150" cy="34877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0410" y="4415157"/>
            <a:ext cx="5609587" cy="4183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29949" lvl="0" indent="-229949" eaLnBrk="1" hangingPunct="1">
              <a:spcBef>
                <a:spcPct val="60000"/>
              </a:spcBef>
              <a:spcAft>
                <a:spcPts val="604"/>
              </a:spcAft>
              <a:buChar char="•"/>
            </a:pPr>
            <a:r>
              <a:rPr lang="en-GB" dirty="0" smtClean="0"/>
              <a:t>Click to edit Master text styles</a:t>
            </a:r>
          </a:p>
          <a:p>
            <a:pPr lvl="1" indent="-229949" eaLnBrk="1" hangingPunct="1">
              <a:spcBef>
                <a:spcPts val="0"/>
              </a:spcBef>
              <a:spcAft>
                <a:spcPts val="604"/>
              </a:spcAft>
              <a:buFont typeface="Arial" charset="0"/>
              <a:buChar char="–"/>
            </a:pPr>
            <a:r>
              <a:rPr lang="en-GB" dirty="0" smtClean="0"/>
              <a:t>2nd level</a:t>
            </a:r>
          </a:p>
          <a:p>
            <a:pPr marL="689846" lvl="2" indent="-229949" eaLnBrk="1" hangingPunct="1">
              <a:spcBef>
                <a:spcPts val="0"/>
              </a:spcBef>
              <a:spcAft>
                <a:spcPts val="604"/>
              </a:spcAft>
              <a:buFont typeface="Arial" charset="0"/>
              <a:buChar char="-"/>
            </a:pPr>
            <a:r>
              <a:rPr lang="en-GB" dirty="0" smtClean="0"/>
              <a:t>3rd level</a:t>
            </a:r>
          </a:p>
          <a:p>
            <a:pPr marL="919795" lvl="3" indent="-229949" eaLnBrk="1" hangingPunct="1">
              <a:spcBef>
                <a:spcPts val="0"/>
              </a:spcBef>
              <a:spcAft>
                <a:spcPts val="604"/>
              </a:spcAft>
              <a:buFont typeface="Arial" charset="0"/>
              <a:buChar char="-"/>
            </a:pPr>
            <a:r>
              <a:rPr lang="en-GB" dirty="0" smtClean="0"/>
              <a:t>4th level</a:t>
            </a:r>
          </a:p>
          <a:p>
            <a:pPr marL="1149744" lvl="4" indent="-229949" eaLnBrk="1" hangingPunct="1">
              <a:spcBef>
                <a:spcPts val="0"/>
              </a:spcBef>
              <a:spcAft>
                <a:spcPts val="604"/>
              </a:spcAft>
              <a:buFont typeface="Arial" panose="020B0604020202020204" pitchFamily="34" charset="0"/>
              <a:buChar char="-"/>
            </a:pPr>
            <a:r>
              <a:rPr lang="en-GB" dirty="0" smtClean="0"/>
              <a:t>5th level</a:t>
            </a:r>
          </a:p>
          <a:p>
            <a:pPr marL="1379692" lvl="5" indent="-229949" fontAlgn="base">
              <a:spcBef>
                <a:spcPts val="0"/>
              </a:spcBef>
              <a:spcAft>
                <a:spcPts val="604"/>
              </a:spcAft>
              <a:buFont typeface="Arial" charset="0"/>
              <a:buChar char="-"/>
            </a:pPr>
            <a:r>
              <a:rPr lang="en-GB" dirty="0" smtClean="0"/>
              <a:t>6th level</a:t>
            </a:r>
          </a:p>
          <a:p>
            <a:pPr marL="1609641" lvl="6" indent="-229949" fontAlgn="base">
              <a:spcBef>
                <a:spcPts val="0"/>
              </a:spcBef>
              <a:spcAft>
                <a:spcPts val="604"/>
              </a:spcAft>
              <a:buFont typeface="Arial" charset="0"/>
              <a:buChar char="-"/>
            </a:pPr>
            <a:r>
              <a:rPr lang="en-GB" dirty="0" smtClean="0"/>
              <a:t>7th level</a:t>
            </a:r>
          </a:p>
          <a:p>
            <a:pPr marL="1839590" lvl="7" indent="-229949" fontAlgn="base">
              <a:spcBef>
                <a:spcPts val="0"/>
              </a:spcBef>
              <a:spcAft>
                <a:spcPts val="604"/>
              </a:spcAft>
              <a:buFont typeface="Arial" charset="0"/>
              <a:buChar char="-"/>
            </a:pPr>
            <a:r>
              <a:rPr lang="en-GB" dirty="0" smtClean="0"/>
              <a:t>8th level</a:t>
            </a:r>
          </a:p>
          <a:p>
            <a:pPr marL="2069539" lvl="8" indent="-229949" fontAlgn="base">
              <a:spcBef>
                <a:spcPts val="0"/>
              </a:spcBef>
              <a:spcAft>
                <a:spcPts val="604"/>
              </a:spcAft>
              <a:buFont typeface="Arial" charset="0"/>
              <a:buChar char="-"/>
            </a:pPr>
            <a:r>
              <a:rPr lang="en-GB" dirty="0" smtClean="0"/>
              <a:t>9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8830313"/>
            <a:ext cx="3037734" cy="46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475" tIns="47238" rIns="94475" bIns="47238" numCol="1" anchor="b" anchorCtr="0" compatLnSpc="1">
            <a:prstTxWarp prst="textNoShape">
              <a:avLst/>
            </a:prstTxWarp>
          </a:bodyPr>
          <a:lstStyle>
            <a:lvl1pPr algn="l" defTabSz="944967">
              <a:lnSpc>
                <a:spcPct val="100000"/>
              </a:lnSpc>
              <a:defRPr sz="1200">
                <a:solidFill>
                  <a:schemeClr val="accent3"/>
                </a:solidFill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1084" y="8830313"/>
            <a:ext cx="3037734" cy="46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475" tIns="47238" rIns="94475" bIns="47238" numCol="1" anchor="b" anchorCtr="0" compatLnSpc="1">
            <a:prstTxWarp prst="textNoShape">
              <a:avLst/>
            </a:prstTxWarp>
          </a:bodyPr>
          <a:lstStyle>
            <a:lvl1pPr algn="r" defTabSz="944967">
              <a:lnSpc>
                <a:spcPct val="100000"/>
              </a:lnSpc>
              <a:defRPr sz="1200">
                <a:solidFill>
                  <a:schemeClr val="accent3"/>
                </a:solidFill>
                <a:latin typeface="+mn-lt"/>
                <a:ea typeface="+mn-ea"/>
                <a:sym typeface="+mn-lt"/>
              </a:defRPr>
            </a:lvl1pPr>
          </a:lstStyle>
          <a:p>
            <a:fld id="{26BEA98B-8E54-4CD0-82BB-B61F2ACC55F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126975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1pPr>
    <a:lvl2pPr marL="4572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2pPr>
    <a:lvl3pPr marL="9144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3pPr>
    <a:lvl4pPr marL="13716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4pPr>
    <a:lvl5pPr marL="18288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5pPr>
    <a:lvl6pPr marL="2286000" algn="l" defTabSz="914400" rtl="0" eaLnBrk="1" latinLnBrk="0" hangingPunct="1">
      <a:defRPr lang="en-GB" sz="1400" kern="1200" baseline="0" dirty="0" smtClean="0">
        <a:solidFill>
          <a:schemeClr val="tx1"/>
        </a:solidFill>
        <a:latin typeface="+mn-lt"/>
        <a:ea typeface="+mn-ea"/>
        <a:cs typeface="+mn-cs"/>
        <a:sym typeface="+mn-lt"/>
      </a:defRPr>
    </a:lvl6pPr>
    <a:lvl7pPr marL="2743200" algn="l" defTabSz="914400" rtl="0" eaLnBrk="1" latinLnBrk="0" hangingPunct="1"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7pPr>
    <a:lvl8pPr marL="3200400" algn="l" defTabSz="914400" rtl="0" eaLnBrk="1" latinLnBrk="0" hangingPunct="1"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8pPr>
    <a:lvl9pPr marL="3657600" algn="l" defTabSz="914400" rtl="0" eaLnBrk="1" latinLnBrk="0" hangingPunct="1">
      <a:defRPr lang="en-GB" sz="1400" kern="1200" baseline="0" dirty="0" smtClean="0">
        <a:solidFill>
          <a:schemeClr val="tx1"/>
        </a:solidFill>
        <a:latin typeface="+mn-lt"/>
        <a:ea typeface="+mn-ea"/>
        <a:cs typeface="+mn-cs"/>
        <a:sym typeface="+mn-lt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99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dirty="0" smtClean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>
                <a:solidFill>
                  <a:prstClr val="black"/>
                </a:solidFill>
              </a:rPr>
              <a:pPr/>
              <a:t>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6179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0569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0569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0569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0569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0569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0569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 userDrawn="1"/>
        </p:nvSpPr>
        <p:spPr bwMode="auto">
          <a:xfrm>
            <a:off x="348435" y="2802939"/>
            <a:ext cx="1791588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" sz="2400" dirty="0">
              <a:ln w="9525" cmpd="sng">
                <a:solidFill>
                  <a:srgbClr val="000000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S PGothic" pitchFamily="34" charset="-128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48437" y="2897188"/>
            <a:ext cx="8549149" cy="349250"/>
          </a:xfrm>
          <a:prstGeom prst="rect">
            <a:avLst/>
          </a:prstGeom>
        </p:spPr>
        <p:txBody>
          <a:bodyPr lIns="0" rIns="163449"/>
          <a:lstStyle>
            <a:lvl1pPr marL="0" indent="0">
              <a:buNone/>
              <a:defRPr sz="2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dirty="0" smtClean="0">
                <a:solidFill>
                  <a:srgbClr val="FF0000"/>
                </a:solidFill>
                <a:latin typeface="Arial"/>
                <a:cs typeface="Arial"/>
              </a:rPr>
              <a:t>SHUSA COMMITTEE/BOARD (Arial 24pt Bold/Red)</a:t>
            </a:r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5938" y="3275665"/>
            <a:ext cx="8541647" cy="349250"/>
          </a:xfrm>
          <a:prstGeom prst="rect">
            <a:avLst/>
          </a:prstGeom>
        </p:spPr>
        <p:txBody>
          <a:bodyPr lIns="0" rIns="199453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 dirty="0" smtClean="0"/>
              <a:t>Title of Presentation </a:t>
            </a: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ust match Agenda, Arial 20pt Bold/Black)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355938" y="3706427"/>
            <a:ext cx="4547155" cy="430213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Date (Arial 18pt Black)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55935" y="4339840"/>
            <a:ext cx="8541648" cy="430213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esenter: Name and Title (Arial 18pt Gray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4795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1" y="99784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/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/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5" y="646792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497212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1" y="99784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/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/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5" y="646792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497212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5938" y="2897188"/>
            <a:ext cx="8541647" cy="349250"/>
          </a:xfrm>
          <a:prstGeom prst="rect">
            <a:avLst/>
          </a:prstGeom>
        </p:spPr>
        <p:txBody>
          <a:bodyPr lIns="0" rIns="163449"/>
          <a:lstStyle>
            <a:lvl1pPr>
              <a:defRPr lang="en-GB" sz="2400" b="1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marL="0" lvl="0" indent="0">
              <a:buNone/>
            </a:pPr>
            <a:r>
              <a:rPr lang="en-GB" dirty="0" smtClean="0"/>
              <a:t>Section #</a:t>
            </a:r>
            <a:endParaRPr lang="en-GB" dirty="0"/>
          </a:p>
        </p:txBody>
      </p:sp>
      <p:sp>
        <p:nvSpPr>
          <p:cNvPr id="4" name="Line 19"/>
          <p:cNvSpPr>
            <a:spLocks noChangeShapeType="1"/>
          </p:cNvSpPr>
          <p:nvPr userDrawn="1"/>
        </p:nvSpPr>
        <p:spPr bwMode="auto">
          <a:xfrm>
            <a:off x="348435" y="2802939"/>
            <a:ext cx="1791588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" sz="2400" dirty="0">
              <a:ln w="9525" cmpd="sng">
                <a:solidFill>
                  <a:srgbClr val="000000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41625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Body &amp;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3082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9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348435" y="1460500"/>
            <a:ext cx="8829230" cy="4992687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</p:spTree>
    <p:extLst>
      <p:ext uri="{BB962C8B-B14F-4D97-AF65-F5344CB8AC3E}">
        <p14:creationId xmlns:p14="http://schemas.microsoft.com/office/powerpoint/2010/main" val="1171577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0650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27330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0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348435" y="2163204"/>
            <a:ext cx="4091188" cy="3921683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348435" y="1470025"/>
            <a:ext cx="4091188" cy="487361"/>
          </a:xfrm>
          <a:prstGeom prst="rect">
            <a:avLst/>
          </a:prstGeom>
        </p:spPr>
        <p:txBody>
          <a:bodyPr lIns="19431" tIns="0" bIns="153733"/>
          <a:lstStyle>
            <a:lvl1pPr marL="0" indent="0">
              <a:buNone/>
              <a:defRPr sz="1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5168378" y="1470025"/>
            <a:ext cx="4091188" cy="487361"/>
          </a:xfrm>
          <a:prstGeom prst="rect">
            <a:avLst/>
          </a:prstGeom>
        </p:spPr>
        <p:txBody>
          <a:bodyPr lIns="19431" tIns="0" bIns="153733"/>
          <a:lstStyle>
            <a:lvl1pPr marL="0" indent="0">
              <a:buNone/>
              <a:defRPr sz="1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62550" y="2163204"/>
            <a:ext cx="4091188" cy="3921683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157768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&amp; 1/3 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785970" y="1457159"/>
            <a:ext cx="2391695" cy="4614865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348435" y="1457159"/>
            <a:ext cx="5837361" cy="4614865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</p:spTree>
    <p:extLst>
      <p:ext uri="{BB962C8B-B14F-4D97-AF65-F5344CB8AC3E}">
        <p14:creationId xmlns:p14="http://schemas.microsoft.com/office/powerpoint/2010/main" val="1360059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602788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9001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1" y="99784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/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/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5" y="646792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156356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 userDrawn="1"/>
        </p:nvSpPr>
        <p:spPr bwMode="auto">
          <a:xfrm>
            <a:off x="348435" y="2802939"/>
            <a:ext cx="1791588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eaLnBrk="0" hangingPunct="0">
              <a:defRPr/>
            </a:pPr>
            <a:endParaRPr lang="es-ES" sz="2400" dirty="0">
              <a:ln w="9525" cmpd="sng">
                <a:solidFill>
                  <a:prstClr val="black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30070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66752203"/>
              </p:ext>
            </p:extLst>
          </p:nvPr>
        </p:nvGraphicFramePr>
        <p:xfrm>
          <a:off x="1670" y="1592"/>
          <a:ext cx="166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079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670" y="1592"/>
                        <a:ext cx="166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7454130" y="6632624"/>
            <a:ext cx="199208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baseline="30000" dirty="0">
                <a:solidFill>
                  <a:schemeClr val="tx1"/>
                </a:solidFill>
              </a:rPr>
              <a:t>Proprietary &amp; Confidential</a:t>
            </a:r>
            <a:endParaRPr lang="en-US" sz="1500" b="1" dirty="0">
              <a:solidFill>
                <a:schemeClr val="tx1"/>
              </a:solidFill>
            </a:endParaRPr>
          </a:p>
        </p:txBody>
      </p:sp>
      <p:pic>
        <p:nvPicPr>
          <p:cNvPr id="8" name="Picture 2" descr="C:\Users\n610821\Desktop\sant-MReg_positivo_RGB.300.jpg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6469" y="6166951"/>
            <a:ext cx="1707505" cy="497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235909" y="6321262"/>
            <a:ext cx="1747658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500" b="1" baseline="30000" dirty="0" smtClean="0">
                <a:solidFill>
                  <a:schemeClr val="tx1"/>
                </a:solidFill>
              </a:rPr>
              <a:t>Santander Holdings USA</a:t>
            </a:r>
            <a:r>
              <a:rPr lang="en-US" sz="1500" b="1" baseline="0" dirty="0" smtClean="0">
                <a:solidFill>
                  <a:schemeClr val="tx1"/>
                </a:solidFill>
              </a:rPr>
              <a:t> </a:t>
            </a:r>
            <a:endParaRPr lang="en-US" sz="15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1575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69" r:id="rId2"/>
    <p:sldLayoutId id="2147483771" r:id="rId3"/>
    <p:sldLayoutId id="2147483772" r:id="rId4"/>
    <p:sldLayoutId id="2147483774" r:id="rId5"/>
    <p:sldLayoutId id="2147483775" r:id="rId6"/>
    <p:sldLayoutId id="2147483782" r:id="rId7"/>
    <p:sldLayoutId id="2147483784" r:id="rId8"/>
    <p:sldLayoutId id="2147483785" r:id="rId9"/>
    <p:sldLayoutId id="2147483786" r:id="rId10"/>
    <p:sldLayoutId id="2147483787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355937" y="2963670"/>
            <a:ext cx="8550815" cy="350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ts val="27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400" b="1" dirty="0">
                <a:solidFill>
                  <a:srgbClr val="FF0000"/>
                </a:solidFill>
                <a:latin typeface="Arial"/>
                <a:ea typeface="MS PGothic" pitchFamily="34" charset="-128"/>
                <a:cs typeface="Arial"/>
              </a:rPr>
              <a:t>SHUSA </a:t>
            </a:r>
            <a:r>
              <a:rPr lang="en-US" sz="2400" b="1" dirty="0" smtClean="0">
                <a:solidFill>
                  <a:srgbClr val="FF0000"/>
                </a:solidFill>
                <a:latin typeface="Arial"/>
                <a:ea typeface="MS PGothic" pitchFamily="34" charset="-128"/>
                <a:cs typeface="Arial"/>
              </a:rPr>
              <a:t>COMMITTEE / BOARD</a:t>
            </a:r>
            <a:endParaRPr lang="en-US" sz="2400" b="1" dirty="0">
              <a:solidFill>
                <a:srgbClr val="FF0000"/>
              </a:solidFill>
              <a:latin typeface="Arial"/>
              <a:ea typeface="MS PGothic" pitchFamily="34" charset="-128"/>
              <a:cs typeface="Arial"/>
            </a:endParaRPr>
          </a:p>
        </p:txBody>
      </p:sp>
      <p:sp>
        <p:nvSpPr>
          <p:cNvPr id="8" name="5 CuadroTexto"/>
          <p:cNvSpPr txBox="1"/>
          <p:nvPr/>
        </p:nvSpPr>
        <p:spPr>
          <a:xfrm>
            <a:off x="251570" y="5974930"/>
            <a:ext cx="5327193" cy="2776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eaLnBrk="0" hangingPunct="0">
              <a:defRPr/>
            </a:pPr>
            <a:r>
              <a:rPr lang="en-US" sz="1400" dirty="0" smtClean="0">
                <a:solidFill>
                  <a:prstClr val="white">
                    <a:lumMod val="50000"/>
                  </a:prstClr>
                </a:solidFill>
                <a:latin typeface="Arial"/>
                <a:ea typeface="MS PGothic" pitchFamily="34" charset="-128"/>
                <a:cs typeface="Arial"/>
              </a:rPr>
              <a:t>Draft</a:t>
            </a:r>
            <a:endParaRPr lang="en-US" sz="1400" dirty="0">
              <a:solidFill>
                <a:prstClr val="white">
                  <a:lumMod val="50000"/>
                </a:prstClr>
              </a:solidFill>
              <a:latin typeface="Arial"/>
              <a:ea typeface="MS PGothic" pitchFamily="34" charset="-128"/>
              <a:cs typeface="Arial"/>
            </a:endParaRPr>
          </a:p>
        </p:txBody>
      </p:sp>
      <p:sp>
        <p:nvSpPr>
          <p:cNvPr id="9" name="5 CuadroTexto"/>
          <p:cNvSpPr txBox="1"/>
          <p:nvPr/>
        </p:nvSpPr>
        <p:spPr>
          <a:xfrm>
            <a:off x="3451568" y="174076"/>
            <a:ext cx="5887979" cy="2776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eaLnBrk="0" hangingPunct="0">
              <a:defRPr/>
            </a:pPr>
            <a:r>
              <a:rPr lang="en-US" sz="1400" b="1" dirty="0">
                <a:solidFill>
                  <a:srgbClr val="000000"/>
                </a:solidFill>
                <a:latin typeface="Arial"/>
                <a:ea typeface="MS PGothic" pitchFamily="34" charset="-128"/>
                <a:cs typeface="Arial"/>
              </a:rPr>
              <a:t>For </a:t>
            </a:r>
            <a:r>
              <a:rPr lang="en-US" sz="1400" b="1" dirty="0" smtClean="0">
                <a:solidFill>
                  <a:srgbClr val="000000"/>
                </a:solidFill>
                <a:latin typeface="Arial"/>
                <a:ea typeface="MS PGothic" pitchFamily="34" charset="-128"/>
                <a:cs typeface="Arial"/>
              </a:rPr>
              <a:t>Review</a:t>
            </a:r>
            <a:endParaRPr lang="en-US" sz="1400" b="1" dirty="0">
              <a:solidFill>
                <a:srgbClr val="000000"/>
              </a:solidFill>
              <a:latin typeface="Arial"/>
              <a:ea typeface="MS PGothic" pitchFamily="34" charset="-128"/>
              <a:cs typeface="Arial"/>
            </a:endParaRP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348435" y="4349163"/>
            <a:ext cx="8550815" cy="6647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20000"/>
              </a:lnSpc>
              <a:spcBef>
                <a:spcPct val="0"/>
              </a:spcBef>
            </a:pPr>
            <a:r>
              <a:rPr lang="en-US" sz="1800" dirty="0" smtClean="0">
                <a:solidFill>
                  <a:prstClr val="white">
                    <a:lumMod val="50000"/>
                  </a:prstClr>
                </a:solidFill>
                <a:latin typeface="Arial"/>
                <a:ea typeface="MS PGothic" pitchFamily="34" charset="-128"/>
                <a:cs typeface="Arial"/>
              </a:rPr>
              <a:t>SHUSA Risk Appetite</a:t>
            </a:r>
            <a:endParaRPr lang="en-US" sz="1800" dirty="0">
              <a:solidFill>
                <a:prstClr val="white">
                  <a:lumMod val="50000"/>
                </a:prstClr>
              </a:solidFill>
              <a:latin typeface="Arial"/>
              <a:ea typeface="MS PGothic" pitchFamily="34" charset="-128"/>
              <a:cs typeface="Arial"/>
            </a:endParaRPr>
          </a:p>
          <a:p>
            <a:pPr eaLnBrk="0" hangingPunct="0">
              <a:lnSpc>
                <a:spcPct val="120000"/>
              </a:lnSpc>
              <a:spcBef>
                <a:spcPct val="0"/>
              </a:spcBef>
            </a:pPr>
            <a:endParaRPr lang="en-US" sz="1800" i="1" dirty="0">
              <a:solidFill>
                <a:prstClr val="white">
                  <a:lumMod val="50000"/>
                </a:prstClr>
              </a:solidFill>
              <a:latin typeface="Arial"/>
              <a:ea typeface="MS PGothic" pitchFamily="34" charset="-128"/>
              <a:cs typeface="Arial"/>
            </a:endParaRPr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355937" y="3313765"/>
            <a:ext cx="8550815" cy="76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fontAlgn="base" hangingPunct="0">
              <a:lnSpc>
                <a:spcPts val="27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800" b="1" dirty="0">
                <a:solidFill>
                  <a:prstClr val="black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SHUSA Risk Appetite </a:t>
            </a:r>
            <a:r>
              <a:rPr lang="en-US" sz="1800" b="1" dirty="0" smtClean="0">
                <a:solidFill>
                  <a:prstClr val="black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Statement– June Report</a:t>
            </a:r>
          </a:p>
          <a:p>
            <a:pPr algn="l" eaLnBrk="0" fontAlgn="base" hangingPunct="0">
              <a:lnSpc>
                <a:spcPts val="27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800" dirty="0" smtClean="0">
                <a:solidFill>
                  <a:prstClr val="black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June 2016</a:t>
            </a:r>
            <a:endParaRPr lang="en-US" sz="1800" dirty="0">
              <a:solidFill>
                <a:prstClr val="black"/>
              </a:solidFill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7056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7682161"/>
              </p:ext>
            </p:extLst>
          </p:nvPr>
        </p:nvGraphicFramePr>
        <p:xfrm>
          <a:off x="365786" y="718658"/>
          <a:ext cx="8863940" cy="47163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86394"/>
                <a:gridCol w="7977546"/>
              </a:tblGrid>
              <a:tr h="15377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S Metrics Summary, Assessment &amp; Key Actions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4686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ategic</a:t>
                      </a:r>
                      <a:endParaRPr lang="en-US" sz="900" b="1" i="0" u="none" strike="noStrike" baseline="30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BD </a:t>
                      </a:r>
                      <a:endParaRPr lang="en-US" sz="900" u="none" dirty="0" smtClean="0">
                        <a:solidFill>
                          <a:prstClr val="black"/>
                        </a:solidFill>
                        <a:latin typeface="Arial" panose="020B0604020202020204" pitchFamily="34" charset="0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</a:txBody>
                  <a:tcPr marL="96028" marR="9602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507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 </a:t>
                      </a: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equacy</a:t>
                      </a: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ne</a:t>
                      </a:r>
                      <a:r>
                        <a:rPr lang="en-US" sz="900" b="1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trics are not available due to delay in filing. 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 Capital Contingency Process (CCP) was activated, a capital adequacy assessment was made, capital was deemed sufficient and further requirements were waived by ALCO. </a:t>
                      </a: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 capital metrics are projected to be </a:t>
                      </a:r>
                      <a:r>
                        <a:rPr lang="en-US" sz="900" b="1" i="0" u="none" strike="noStrike" kern="1200" baseline="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een</a:t>
                      </a: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  <a:endParaRPr lang="en-US" sz="900" b="0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6028" marR="9602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839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ligor Rating Exposure</a:t>
                      </a:r>
                      <a:r>
                        <a:rPr 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duced to 6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bove </a:t>
                      </a:r>
                      <a:r>
                        <a:rPr lang="en-US" sz="9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d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limit by 6.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marily the result of an OCC directive to risk rate CRE Construction transactions as low pass, causing otherwise strong One Obligor relationships to not reach the 5.0 risk rating hurdle. 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each escalated. Action plans </a:t>
                      </a:r>
                      <a:r>
                        <a:rPr lang="en-US" sz="9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late as of 6/16) </a:t>
                      </a:r>
                      <a:r>
                        <a:rPr 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e in development. Meeting with business lines to discuss is scheduled on 8/9.</a:t>
                      </a: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34174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SimSun"/>
                          <a:cs typeface="Arial" panose="020B0604020202020204" pitchFamily="34" charset="0"/>
                        </a:rPr>
                        <a:t>Multifamily Exposure</a:t>
                      </a:r>
                      <a:r>
                        <a:rPr lang="en-US" sz="9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SimSun"/>
                          <a:cs typeface="Arial" panose="020B0604020202020204" pitchFamily="34" charset="0"/>
                        </a:rPr>
                        <a:t> reaches $10.7B above </a:t>
                      </a:r>
                      <a:r>
                        <a:rPr lang="en-US" sz="900" b="1" i="0" u="none" strike="noStrike" kern="1200" dirty="0" smtClean="0">
                          <a:solidFill>
                            <a:srgbClr val="FFC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</a:t>
                      </a:r>
                      <a:r>
                        <a:rPr lang="en-US" sz="900" b="0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SimSun"/>
                          <a:cs typeface="Arial" panose="020B0604020202020204" pitchFamily="34" charset="0"/>
                        </a:rPr>
                        <a:t> limit by 0.1B due to a net increase in Commercial Real Estate ($78MM) and SREC ($11MM) segments. 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each escalated. Action plans </a:t>
                      </a:r>
                      <a:r>
                        <a:rPr lang="en-US" sz="9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late as of 6/16) </a:t>
                      </a:r>
                      <a:r>
                        <a:rPr 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e in development. Meeting with business lines to discuss is scheduled on 8/9.</a:t>
                      </a: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261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idual </a:t>
                      </a: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ue</a:t>
                      </a: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s within appetit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4995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/ Funding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iquidity metrics for June are within appetite but may come under pressure </a:t>
                      </a:r>
                      <a:r>
                        <a:rPr lang="en-US" sz="900" b="0" i="0" u="none" strike="noStrike" kern="1200" baseline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uring July.</a:t>
                      </a:r>
                      <a:endParaRPr lang="en-US" sz="900" b="0" i="0" u="none" strike="noStrike" kern="1200" baseline="0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4995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est Rat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etrics</a:t>
                      </a: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within appetite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261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TM </a:t>
                      </a: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tfolio </a:t>
                      </a: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s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within appetite</a:t>
                      </a:r>
                      <a:endParaRPr lang="en-US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3417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onal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s within appetite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sng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839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l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etric is within appetite. However, due to repeated late delivery of first line model documentation from the Fair Lending team, the overall status is set to </a:t>
                      </a:r>
                      <a:r>
                        <a:rPr lang="en-US" sz="900" b="1" i="0" u="none" strike="noStrike" kern="1200" baseline="0" dirty="0" smtClean="0">
                          <a:solidFill>
                            <a:srgbClr val="FFC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</a:t>
                      </a: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until this is resolved. 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re is potential late delivery of first line documentation from Madrid for market risk models but MRMG has a contingency plan is in place.</a:t>
                      </a: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3417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iance and Reputational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23 MR(I)As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f June 31;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RT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lans addressing MR(I)As</a:t>
                      </a:r>
                      <a:endParaRPr lang="en-US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266744" y="248489"/>
            <a:ext cx="9336044" cy="357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GB"/>
            </a:defPPr>
            <a:lvl1pPr algn="l" eaLnBrk="0" hangingPunct="0">
              <a:defRPr sz="2000" b="1">
                <a:solidFill>
                  <a:prstClr val="black"/>
                </a:solidFill>
                <a:ea typeface="MS PGothic" pitchFamily="34" charset="-128"/>
              </a:defRPr>
            </a:lvl1pPr>
          </a:lstStyle>
          <a:p>
            <a:r>
              <a:rPr lang="en-US" dirty="0"/>
              <a:t>2. Risk Appetite Statement Dashboard</a:t>
            </a:r>
          </a:p>
        </p:txBody>
      </p:sp>
      <p:grpSp>
        <p:nvGrpSpPr>
          <p:cNvPr id="154" name="Group 153"/>
          <p:cNvGrpSpPr/>
          <p:nvPr/>
        </p:nvGrpSpPr>
        <p:grpSpPr>
          <a:xfrm>
            <a:off x="365785" y="6636117"/>
            <a:ext cx="2720794" cy="105863"/>
            <a:chOff x="1201643" y="6031365"/>
            <a:chExt cx="3491000" cy="140904"/>
          </a:xfrm>
        </p:grpSpPr>
        <p:sp>
          <p:nvSpPr>
            <p:cNvPr id="155" name="80 CuadroTexto"/>
            <p:cNvSpPr txBox="1"/>
            <p:nvPr/>
          </p:nvSpPr>
          <p:spPr bwMode="gray">
            <a:xfrm>
              <a:off x="1358881" y="6031365"/>
              <a:ext cx="1138487" cy="1409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s-ES"/>
              </a:defPPr>
              <a:lvl1pPr>
                <a:spcBef>
                  <a:spcPts val="600"/>
                </a:spcBef>
                <a:buClr>
                  <a:srgbClr val="FF0000"/>
                </a:buClr>
                <a:defRPr sz="1200">
                  <a:cs typeface="Arial" pitchFamily="34" charset="0"/>
                </a:defRPr>
              </a:lvl1pPr>
            </a:lstStyle>
            <a:p>
              <a:pPr>
                <a:defRPr/>
              </a:pPr>
              <a:r>
                <a:rPr lang="en-GB" sz="800" kern="0" dirty="0" smtClean="0">
                  <a:solidFill>
                    <a:srgbClr val="515151"/>
                  </a:solidFill>
                  <a:ea typeface="MS PGothic" pitchFamily="34" charset="-128"/>
                </a:rPr>
                <a:t>Focus of concern</a:t>
              </a:r>
              <a:endParaRPr lang="en-GB" sz="800" kern="0" dirty="0">
                <a:solidFill>
                  <a:srgbClr val="515151"/>
                </a:solidFill>
                <a:ea typeface="MS PGothic" pitchFamily="34" charset="-128"/>
              </a:endParaRPr>
            </a:p>
          </p:txBody>
        </p:sp>
        <p:sp>
          <p:nvSpPr>
            <p:cNvPr id="156" name="80 CuadroTexto"/>
            <p:cNvSpPr txBox="1"/>
            <p:nvPr/>
          </p:nvSpPr>
          <p:spPr bwMode="gray">
            <a:xfrm>
              <a:off x="2533608" y="6031365"/>
              <a:ext cx="993775" cy="1409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s-ES"/>
              </a:defPPr>
              <a:lvl1pPr>
                <a:spcBef>
                  <a:spcPts val="600"/>
                </a:spcBef>
                <a:buClr>
                  <a:srgbClr val="FF0000"/>
                </a:buClr>
                <a:defRPr sz="1200">
                  <a:cs typeface="Arial" pitchFamily="34" charset="0"/>
                </a:defRPr>
              </a:lvl1pPr>
            </a:lstStyle>
            <a:p>
              <a:pPr>
                <a:defRPr/>
              </a:pPr>
              <a:r>
                <a:rPr lang="en-GB" sz="800" kern="0" dirty="0" smtClean="0">
                  <a:solidFill>
                    <a:srgbClr val="515151"/>
                  </a:solidFill>
                  <a:ea typeface="MS PGothic" pitchFamily="34" charset="-128"/>
                </a:rPr>
                <a:t>Area of attention </a:t>
              </a:r>
              <a:endParaRPr lang="en-GB" sz="800" kern="0" dirty="0">
                <a:solidFill>
                  <a:srgbClr val="515151"/>
                </a:solidFill>
                <a:ea typeface="MS PGothic" pitchFamily="34" charset="-128"/>
              </a:endParaRPr>
            </a:p>
          </p:txBody>
        </p:sp>
        <p:sp>
          <p:nvSpPr>
            <p:cNvPr id="157" name="80 CuadroTexto"/>
            <p:cNvSpPr txBox="1"/>
            <p:nvPr/>
          </p:nvSpPr>
          <p:spPr bwMode="gray">
            <a:xfrm>
              <a:off x="3785070" y="6031365"/>
              <a:ext cx="907573" cy="1409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s-ES"/>
              </a:defPPr>
              <a:lvl1pPr>
                <a:spcBef>
                  <a:spcPts val="600"/>
                </a:spcBef>
                <a:buClr>
                  <a:srgbClr val="FF0000"/>
                </a:buClr>
                <a:defRPr sz="1200">
                  <a:cs typeface="Arial" pitchFamily="34" charset="0"/>
                </a:defRPr>
              </a:lvl1pPr>
            </a:lstStyle>
            <a:p>
              <a:pPr>
                <a:defRPr/>
              </a:pPr>
              <a:r>
                <a:rPr lang="en-GB" sz="800" kern="0" dirty="0">
                  <a:solidFill>
                    <a:srgbClr val="515151"/>
                  </a:solidFill>
                  <a:ea typeface="MS PGothic" pitchFamily="34" charset="-128"/>
                </a:rPr>
                <a:t>Not a concern</a:t>
              </a:r>
            </a:p>
          </p:txBody>
        </p:sp>
        <p:sp>
          <p:nvSpPr>
            <p:cNvPr id="158" name="116 Elipse"/>
            <p:cNvSpPr/>
            <p:nvPr/>
          </p:nvSpPr>
          <p:spPr bwMode="gray">
            <a:xfrm>
              <a:off x="3622233" y="6037858"/>
              <a:ext cx="120077" cy="120078"/>
            </a:xfrm>
            <a:prstGeom prst="ellipse">
              <a:avLst/>
            </a:prstGeom>
            <a:solidFill>
              <a:srgbClr val="6699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GB" sz="800" kern="0" dirty="0" smtClean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59" name="117 Elipse"/>
            <p:cNvSpPr/>
            <p:nvPr/>
          </p:nvSpPr>
          <p:spPr bwMode="gray">
            <a:xfrm>
              <a:off x="2381418" y="6037858"/>
              <a:ext cx="120077" cy="120078"/>
            </a:xfrm>
            <a:prstGeom prst="ellipse">
              <a:avLst/>
            </a:prstGeom>
            <a:solidFill>
              <a:srgbClr val="FFCC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GB" sz="800" kern="0" dirty="0" smtClean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60" name="119 Elipse"/>
            <p:cNvSpPr/>
            <p:nvPr/>
          </p:nvSpPr>
          <p:spPr bwMode="gray">
            <a:xfrm>
              <a:off x="1201643" y="6037857"/>
              <a:ext cx="120078" cy="120078"/>
            </a:xfrm>
            <a:prstGeom prst="ellipse">
              <a:avLst/>
            </a:prstGeom>
            <a:solidFill>
              <a:srgbClr val="FF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GB" sz="800" kern="0" dirty="0" smtClean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55" name="Rectangle 54"/>
          <p:cNvSpPr/>
          <p:nvPr/>
        </p:nvSpPr>
        <p:spPr>
          <a:xfrm>
            <a:off x="3150510" y="5510142"/>
            <a:ext cx="6330762" cy="1981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457200" fontAlgn="t">
              <a:defRPr/>
            </a:pPr>
            <a:r>
              <a:rPr lang="en-US" sz="800" dirty="0">
                <a:solidFill>
                  <a:srgbClr val="9D9D9C"/>
                </a:solidFill>
                <a:ea typeface="MS PGothic" pitchFamily="34" charset="-128"/>
                <a:cs typeface="Arial" panose="020B0604020202020204" pitchFamily="34" charset="0"/>
              </a:rPr>
              <a:t>Aggregated RAS status for the purpose of this summary is based on expert judgment and reviewed by ERMC prior to RC and Board. </a:t>
            </a:r>
          </a:p>
        </p:txBody>
      </p:sp>
    </p:spTree>
    <p:extLst>
      <p:ext uri="{BB962C8B-B14F-4D97-AF65-F5344CB8AC3E}">
        <p14:creationId xmlns:p14="http://schemas.microsoft.com/office/powerpoint/2010/main" val="4121169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989511"/>
              </p:ext>
            </p:extLst>
          </p:nvPr>
        </p:nvGraphicFramePr>
        <p:xfrm>
          <a:off x="352425" y="486643"/>
          <a:ext cx="8905874" cy="2514600"/>
        </p:xfrm>
        <a:graphic>
          <a:graphicData uri="http://schemas.openxmlformats.org/drawingml/2006/table">
            <a:tbl>
              <a:tblPr firstRow="1" bandRow="1"/>
              <a:tblGrid>
                <a:gridCol w="742950"/>
                <a:gridCol w="837808"/>
                <a:gridCol w="1272920"/>
                <a:gridCol w="869228"/>
                <a:gridCol w="869228"/>
                <a:gridCol w="770441"/>
                <a:gridCol w="613551"/>
                <a:gridCol w="632979"/>
                <a:gridCol w="2296769"/>
              </a:tblGrid>
              <a:tr h="147299">
                <a:tc gridSpan="8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9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sz="9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4572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9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indent="0" algn="ctr" defTabSz="4572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9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094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ity</a:t>
                      </a:r>
                      <a:r>
                        <a:rPr lang="en-US" sz="9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/ </a:t>
                      </a:r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tfolio</a:t>
                      </a:r>
                      <a:endParaRPr lang="en-US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s</a:t>
                      </a:r>
                      <a:endParaRPr lang="en-US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Jun-16</a:t>
                      </a:r>
                      <a:endParaRPr lang="en-US" sz="9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y-16</a:t>
                      </a:r>
                      <a:endParaRPr lang="en-US" sz="9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r-16</a:t>
                      </a:r>
                      <a:endParaRPr lang="en-US" sz="9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limit</a:t>
                      </a:r>
                      <a:endParaRPr lang="en-US" sz="9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9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9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4572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9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ction Plan</a:t>
                      </a:r>
                      <a:endParaRPr lang="en-US" sz="9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</a:tr>
              <a:tr h="22094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</a:p>
                  </a:txBody>
                  <a:tcPr marL="48014" marR="4801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iance and Reputational</a:t>
                      </a:r>
                    </a:p>
                  </a:txBody>
                  <a:tcPr marL="48014" marR="4801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Open MRIAs and other equivalent matters requiring immediate attention</a:t>
                      </a:r>
                    </a:p>
                  </a:txBody>
                  <a:tcPr marL="48014" marR="48014">
                    <a:lnL w="952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</a:t>
                      </a: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9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3</a:t>
                      </a:r>
                      <a:endParaRPr lang="en-US" sz="9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9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</a:t>
                      </a:r>
                      <a:endParaRPr lang="en-US" sz="9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9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9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0</a:t>
                      </a:r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9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RT plans addressing</a:t>
                      </a:r>
                      <a:r>
                        <a:rPr lang="en-US" sz="9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MR(I)As</a:t>
                      </a:r>
                      <a:endParaRPr lang="en-US" sz="9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45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</a:p>
                  </a:txBody>
                  <a:tcPr marL="48014" marR="4801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edit</a:t>
                      </a:r>
                    </a:p>
                  </a:txBody>
                  <a:tcPr marL="48014" marR="4801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ligor</a:t>
                      </a:r>
                      <a:r>
                        <a:rPr lang="en-US" sz="9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ating Exposure</a:t>
                      </a:r>
                      <a:r>
                        <a:rPr lang="en-US" sz="900" b="0" i="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900" i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/A</a:t>
                      </a:r>
                      <a:endParaRPr lang="en-US" sz="9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gt;0</a:t>
                      </a:r>
                      <a:endParaRPr lang="en-US" sz="9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reach escalated.</a:t>
                      </a: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A</a:t>
                      </a: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tion plans (late as of 6/16) are in development. </a:t>
                      </a:r>
                      <a:r>
                        <a:rPr 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eting with business lines to discuss is scheduled on 8/9.</a:t>
                      </a:r>
                      <a:endParaRPr lang="en-US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8247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900" b="0" i="0" kern="1200" baseline="30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ultifamily Exposure</a:t>
                      </a:r>
                      <a:r>
                        <a:rPr lang="en-US" sz="900" b="0" i="0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  <a:endParaRPr lang="en-US" sz="900" i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0.7B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0.5B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0.5B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9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0.6B</a:t>
                      </a:r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9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1.1B</a:t>
                      </a:r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reach escalated.</a:t>
                      </a: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A</a:t>
                      </a: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tion plans (late as of 6/16) are in development. </a:t>
                      </a:r>
                      <a:r>
                        <a:rPr 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eting with business lines to discuss is scheduled on 8/9.</a:t>
                      </a:r>
                    </a:p>
                  </a:txBody>
                  <a:tcPr marL="48014" marR="48014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266744" y="248488"/>
            <a:ext cx="9336044" cy="357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prstClr val="black"/>
                </a:solidFill>
                <a:latin typeface="Arial" charset="0"/>
                <a:ea typeface="MS PGothic" pitchFamily="34" charset="-128"/>
              </a:rPr>
              <a:t>2</a:t>
            </a:r>
            <a:r>
              <a:rPr lang="en-US" sz="2000" b="1" dirty="0" smtClean="0">
                <a:solidFill>
                  <a:prstClr val="black"/>
                </a:solidFill>
                <a:latin typeface="Arial" charset="0"/>
                <a:ea typeface="MS PGothic" pitchFamily="34" charset="-128"/>
              </a:rPr>
              <a:t>. Risk Appetite </a:t>
            </a:r>
            <a:r>
              <a:rPr lang="en-US" sz="2000" b="1" dirty="0">
                <a:solidFill>
                  <a:prstClr val="black"/>
                </a:solidFill>
                <a:latin typeface="Arial" charset="0"/>
                <a:ea typeface="MS PGothic" pitchFamily="34" charset="-128"/>
              </a:rPr>
              <a:t>Statement </a:t>
            </a:r>
            <a:r>
              <a:rPr lang="en-US" sz="2000" b="1" dirty="0" smtClean="0">
                <a:solidFill>
                  <a:prstClr val="black"/>
                </a:solidFill>
                <a:latin typeface="Arial" charset="0"/>
                <a:ea typeface="MS PGothic" pitchFamily="34" charset="-128"/>
              </a:rPr>
              <a:t>– Amber and Red metrics</a:t>
            </a:r>
            <a:endParaRPr lang="en-US" sz="2000" b="1" dirty="0">
              <a:solidFill>
                <a:prstClr val="black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10" name="Footnote"/>
          <p:cNvSpPr/>
          <p:nvPr/>
        </p:nvSpPr>
        <p:spPr bwMode="auto">
          <a:xfrm>
            <a:off x="1979523" y="6566315"/>
            <a:ext cx="8903637" cy="2779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marL="0" lvl="1" algn="l"/>
            <a:endParaRPr lang="en-US" sz="70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  <a:sym typeface="Arial"/>
            </a:endParaRPr>
          </a:p>
          <a:p>
            <a:pPr marL="228600" lvl="1" indent="-228600" algn="l">
              <a:buFontTx/>
              <a:buAutoNum type="arabicPeriod"/>
            </a:pPr>
            <a:r>
              <a:rPr lang="en-US" sz="700" dirty="0" smtClean="0">
                <a:latin typeface="Arial"/>
                <a:ea typeface="ＭＳ Ｐゴシック"/>
                <a:sym typeface="Arial"/>
              </a:rPr>
              <a:t># </a:t>
            </a:r>
            <a:r>
              <a:rPr lang="en-US" sz="700" dirty="0">
                <a:latin typeface="Arial"/>
                <a:ea typeface="ＭＳ Ｐゴシック"/>
                <a:sym typeface="Arial"/>
              </a:rPr>
              <a:t>of counterparties with </a:t>
            </a:r>
            <a:r>
              <a:rPr lang="en-US" sz="700" dirty="0" err="1">
                <a:latin typeface="Arial"/>
                <a:ea typeface="ＭＳ Ｐゴシック"/>
                <a:sym typeface="Arial"/>
              </a:rPr>
              <a:t>Sant</a:t>
            </a:r>
            <a:r>
              <a:rPr lang="en-US" sz="700" dirty="0">
                <a:latin typeface="Arial"/>
                <a:ea typeface="ＭＳ Ｐゴシック"/>
                <a:sym typeface="Arial"/>
              </a:rPr>
              <a:t>. Risk Rating &lt; 5.0 &amp; exposure&gt;$</a:t>
            </a:r>
            <a:r>
              <a:rPr lang="en-US" sz="700" dirty="0" smtClean="0">
                <a:latin typeface="Arial"/>
                <a:ea typeface="ＭＳ Ｐゴシック"/>
                <a:sym typeface="Arial"/>
              </a:rPr>
              <a:t>100M</a:t>
            </a:r>
            <a:endParaRPr lang="en-US" sz="700" dirty="0" smtClean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  <a:sym typeface="Arial"/>
            </a:endParaRPr>
          </a:p>
          <a:p>
            <a:pPr marL="228600" lvl="1" indent="-228600" algn="l">
              <a:buFontTx/>
              <a:buAutoNum type="arabicPeriod"/>
            </a:pPr>
            <a:r>
              <a:rPr lang="en-US" sz="700" dirty="0">
                <a:solidFill>
                  <a:srgbClr val="000000"/>
                </a:solidFill>
                <a:ea typeface="ＭＳ Ｐゴシック"/>
              </a:rPr>
              <a:t>Updated limit from </a:t>
            </a:r>
            <a:r>
              <a:rPr lang="en-US" sz="700" dirty="0" smtClean="0">
                <a:solidFill>
                  <a:srgbClr val="000000"/>
                </a:solidFill>
                <a:ea typeface="ＭＳ Ｐゴシック"/>
              </a:rPr>
              <a:t>2015</a:t>
            </a:r>
            <a:endParaRPr lang="en-US" sz="700" dirty="0"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406039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0173659"/>
              </p:ext>
            </p:extLst>
          </p:nvPr>
        </p:nvGraphicFramePr>
        <p:xfrm>
          <a:off x="349319" y="660285"/>
          <a:ext cx="8905310" cy="2359152"/>
        </p:xfrm>
        <a:graphic>
          <a:graphicData uri="http://schemas.openxmlformats.org/drawingml/2006/table">
            <a:tbl>
              <a:tblPr firstRow="1" bandRow="1"/>
              <a:tblGrid>
                <a:gridCol w="718022"/>
                <a:gridCol w="1628234"/>
                <a:gridCol w="723900"/>
                <a:gridCol w="647700"/>
                <a:gridCol w="571500"/>
                <a:gridCol w="600075"/>
                <a:gridCol w="590550"/>
                <a:gridCol w="742950"/>
                <a:gridCol w="695325"/>
                <a:gridCol w="523875"/>
                <a:gridCol w="714375"/>
                <a:gridCol w="748804"/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1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1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1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aseline scenario</a:t>
                      </a:r>
                      <a:endParaRPr lang="en-US" sz="1000" b="1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457200" rtl="0" eaLnBrk="1" latinLnBrk="0" hangingPunct="1"/>
                      <a:endParaRPr lang="en-US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 defTabSz="4572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11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HC Stress scenario</a:t>
                      </a:r>
                    </a:p>
                  </a:txBody>
                  <a:tcPr marL="36576" marR="36576" marT="36576" marB="36576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457200" rtl="0" eaLnBrk="1" latinLnBrk="0" hangingPunct="1"/>
                      <a:endParaRPr lang="en-US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 defTabSz="4572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11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tio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quency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Jun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y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r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ase</a:t>
                      </a:r>
                      <a:r>
                        <a:rPr lang="en-US" sz="1000" b="1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HC</a:t>
                      </a:r>
                      <a:r>
                        <a:rPr lang="en-US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Stress</a:t>
                      </a:r>
                      <a:r>
                        <a:rPr lang="en-US" sz="1000" b="1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  <a:endParaRPr lang="en-US" sz="1000" b="1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438912">
                <a:tc rowSpan="4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equacy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ratios)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Common Equity</a:t>
                      </a:r>
                      <a:r>
                        <a:rPr lang="en-US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ier 1</a:t>
                      </a:r>
                      <a:r>
                        <a:rPr lang="en-US" sz="100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000" b="0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19%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07%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24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.00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.25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.41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.3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.55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438912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Total Risk-based Capital</a:t>
                      </a:r>
                      <a:r>
                        <a:rPr lang="en-US" sz="100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000" b="0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.60%</a:t>
                      </a: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.55%</a:t>
                      </a: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.16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4.25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3.50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37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.8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.05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438912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Tier</a:t>
                      </a:r>
                      <a:r>
                        <a:rPr lang="en-US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 Leverage</a:t>
                      </a:r>
                      <a:r>
                        <a:rPr lang="en-US" sz="100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000" b="0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.50%</a:t>
                      </a: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.48%</a:t>
                      </a: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.45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.4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.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.03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8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35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438912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Tier 1 Risk-based</a:t>
                      </a:r>
                      <a:r>
                        <a:rPr lang="en-US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apital</a:t>
                      </a:r>
                      <a:r>
                        <a:rPr lang="en-US" sz="100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000" b="0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.79%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.65%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.48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2.5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1.7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.3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85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1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</a:tbl>
          </a:graphicData>
        </a:graphic>
      </p:graphicFrame>
      <p:sp>
        <p:nvSpPr>
          <p:cNvPr id="9" name="Footnote"/>
          <p:cNvSpPr/>
          <p:nvPr/>
        </p:nvSpPr>
        <p:spPr>
          <a:xfrm>
            <a:off x="2228518" y="6332539"/>
            <a:ext cx="5000958" cy="430887"/>
          </a:xfrm>
          <a:prstGeom prst="rect">
            <a:avLst/>
          </a:prstGeom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7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  <a:p>
            <a:pPr marL="228600" indent="-228600" algn="l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7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Correspond to “Worst Quarter” complementary metrics in Group RAS</a:t>
            </a:r>
          </a:p>
          <a:p>
            <a:pPr marL="228600" indent="-228600" algn="l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700" dirty="0">
                <a:solidFill>
                  <a:srgbClr val="000000"/>
                </a:solidFill>
                <a:ea typeface="ＭＳ Ｐゴシック"/>
              </a:rPr>
              <a:t>Updated limit from 2015</a:t>
            </a:r>
            <a:endParaRPr lang="en-US" sz="7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  <a:p>
            <a:pPr marL="228600" indent="-228600" algn="l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AutoNum type="arabicPeriod"/>
            </a:pPr>
            <a:endParaRPr lang="en-US" sz="7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372254" y="6017810"/>
            <a:ext cx="2350290" cy="125740"/>
            <a:chOff x="372254" y="5975278"/>
            <a:chExt cx="2350290" cy="125740"/>
          </a:xfrm>
        </p:grpSpPr>
        <p:sp>
          <p:nvSpPr>
            <p:cNvPr id="12" name="TextBox 11"/>
            <p:cNvSpPr txBox="1"/>
            <p:nvPr/>
          </p:nvSpPr>
          <p:spPr>
            <a:xfrm>
              <a:off x="863061" y="5981883"/>
              <a:ext cx="1859483" cy="1191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eaLnBrk="1" hangingPunct="1">
                <a:lnSpc>
                  <a:spcPct val="86000"/>
                </a:lnSpc>
              </a:pPr>
              <a:r>
                <a:rPr lang="en-US" sz="900" dirty="0" smtClean="0">
                  <a:solidFill>
                    <a:srgbClr val="000000"/>
                  </a:solidFill>
                  <a:ea typeface="ＭＳ Ｐゴシック"/>
                </a:rPr>
                <a:t>* </a:t>
              </a:r>
              <a:r>
                <a:rPr lang="en-US" sz="900" dirty="0">
                  <a:solidFill>
                    <a:srgbClr val="000000"/>
                  </a:solidFill>
                  <a:ea typeface="ＭＳ Ｐゴシック"/>
                </a:rPr>
                <a:t>R</a:t>
              </a:r>
              <a:r>
                <a:rPr lang="en-US" sz="900" dirty="0" smtClean="0">
                  <a:solidFill>
                    <a:srgbClr val="000000"/>
                  </a:solidFill>
                  <a:ea typeface="ＭＳ Ｐゴシック"/>
                </a:rPr>
                <a:t>eported in Santander Group RAS</a:t>
              </a:r>
              <a:endParaRPr lang="en-US" sz="900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72254" y="5975278"/>
              <a:ext cx="593022" cy="1191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900" b="1" dirty="0" smtClean="0"/>
                <a:t>Legend</a:t>
              </a:r>
              <a:endParaRPr lang="en-GB" sz="900" b="1" dirty="0"/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271496" y="263720"/>
            <a:ext cx="8983134" cy="357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3. Risk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Appetite 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tatement – Monthly Metrics (1/3)</a:t>
            </a: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2862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9535452"/>
              </p:ext>
            </p:extLst>
          </p:nvPr>
        </p:nvGraphicFramePr>
        <p:xfrm>
          <a:off x="348436" y="704215"/>
          <a:ext cx="8906195" cy="5384927"/>
        </p:xfrm>
        <a:graphic>
          <a:graphicData uri="http://schemas.openxmlformats.org/drawingml/2006/table">
            <a:tbl>
              <a:tblPr firstRow="1" bandRow="1"/>
              <a:tblGrid>
                <a:gridCol w="995871"/>
                <a:gridCol w="2441801"/>
                <a:gridCol w="807780"/>
                <a:gridCol w="708685"/>
                <a:gridCol w="860102"/>
                <a:gridCol w="816546"/>
                <a:gridCol w="838324"/>
                <a:gridCol w="718543"/>
                <a:gridCol w="718543"/>
              </a:tblGrid>
              <a:tr h="13542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quency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ity</a:t>
                      </a:r>
                      <a:r>
                        <a:rPr lang="en-US" sz="1000" b="1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Jun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y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r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24463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equacy (other)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SC Tota</a:t>
                      </a:r>
                      <a:r>
                        <a:rPr lang="en-US" sz="1000" b="0" i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 RWA</a:t>
                      </a:r>
                      <a:endParaRPr lang="en-US" sz="1000" b="0" i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7.5B</a:t>
                      </a:r>
                      <a:endParaRPr lang="en-US" sz="10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7.1B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with PL</a:t>
                      </a:r>
                      <a:r>
                        <a:rPr lang="en-US" sz="1000" b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6.0B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exc. PL</a:t>
                      </a:r>
                      <a:r>
                        <a:rPr lang="en-US" sz="1000" b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7.0B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with PL</a:t>
                      </a:r>
                      <a:r>
                        <a:rPr lang="en-US" sz="1000" b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6.0B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exc. PL</a:t>
                      </a:r>
                      <a:r>
                        <a:rPr lang="en-US" sz="1000" b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d - $2BN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solidFill>
                            <a:schemeClr val="bg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&gt;=$39.8B]</a:t>
                      </a:r>
                      <a:endParaRPr lang="en-US" sz="1000" dirty="0">
                        <a:solidFill>
                          <a:schemeClr val="bg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% of CET1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solidFill>
                            <a:schemeClr val="bg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&gt;=$41.8B]</a:t>
                      </a:r>
                      <a:endParaRPr lang="en-US" sz="1000" dirty="0">
                        <a:solidFill>
                          <a:schemeClr val="bg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274193">
                <a:tc rowSpan="6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 (losses)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t Charge-off Rate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en-US" sz="1000" b="0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trailing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2m</a:t>
                      </a: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3%</a:t>
                      </a:r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3%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5%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6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 Auto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11%</a:t>
                      </a:r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.98%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.90%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9.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9.6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26441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PR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4%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1.4% 	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 1.4% 	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.7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.9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/61+</a:t>
                      </a:r>
                      <a:r>
                        <a:rPr lang="en-US" sz="1000" b="0" i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PD Rate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en-US" sz="1000" b="0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trailing 12m)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 Retail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97%</a:t>
                      </a: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00%</a:t>
                      </a: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07%</a:t>
                      </a: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.84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3.1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 Auto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14%</a:t>
                      </a:r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08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04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5.1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5.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PR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1% 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3% 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4.3% 	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6.6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7.1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rowSpan="1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concentration)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*Single Obligor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Exposure (Corporates &amp; FIs)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0M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0M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0M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/A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gt;$500M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Top 20 Corporates Exposure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36 B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07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25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7.0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8.0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Obligor</a:t>
                      </a:r>
                      <a:r>
                        <a:rPr lang="en-US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ating Exposure</a:t>
                      </a:r>
                      <a:r>
                        <a:rPr lang="en-US" sz="1000" b="0" i="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</a:t>
                      </a: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0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Industry Exposure</a:t>
                      </a:r>
                      <a:endParaRPr lang="en-US" sz="100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ne</a:t>
                      </a:r>
                      <a:r>
                        <a:rPr lang="en-US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over limit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ne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over   limit</a:t>
                      </a: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ne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over limit</a:t>
                      </a: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4.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0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ancial &amp;</a:t>
                      </a:r>
                      <a:r>
                        <a:rPr lang="en-US" sz="100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surance Exposure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en-US" sz="100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1B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9B</a:t>
                      </a: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9B</a:t>
                      </a: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6.2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tilities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.2B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5B</a:t>
                      </a: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6B</a:t>
                      </a: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0B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5B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*CRE Exposure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.7B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8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9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0.1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0.6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*Multifamily Exposure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.7B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5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5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0.6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1.1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*Project Finance Exposure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5B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6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8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3.7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4.2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ublic Sector Exposure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PR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46M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47M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47M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436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43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24463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 Subprime Assets</a:t>
                      </a:r>
                      <a:r>
                        <a:rPr lang="en-US" sz="1000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lang="en-US" sz="100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 % </a:t>
                      </a:r>
                      <a:r>
                        <a:rPr lang="en-US" sz="100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 Credit</a:t>
                      </a:r>
                      <a:r>
                        <a:rPr lang="en-US" sz="100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xposure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.63%</a:t>
                      </a:r>
                      <a:endParaRPr lang="en-US" sz="10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.29%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.30%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Total Subprime Assets</a:t>
                      </a:r>
                      <a:r>
                        <a:rPr lang="en-US" sz="1000" b="0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 %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 Credit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xposure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</a:t>
                      </a:r>
                      <a:r>
                        <a:rPr lang="en-US" sz="1000" b="0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</a:t>
                      </a:r>
                      <a:r>
                        <a:rPr lang="en-US" sz="1000" b="0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</a:tbl>
          </a:graphicData>
        </a:graphic>
      </p:graphicFrame>
      <p:grpSp>
        <p:nvGrpSpPr>
          <p:cNvPr id="11" name="Group 10"/>
          <p:cNvGrpSpPr/>
          <p:nvPr/>
        </p:nvGrpSpPr>
        <p:grpSpPr>
          <a:xfrm>
            <a:off x="372254" y="6132110"/>
            <a:ext cx="2350290" cy="125740"/>
            <a:chOff x="372254" y="5975278"/>
            <a:chExt cx="2350290" cy="125740"/>
          </a:xfrm>
        </p:grpSpPr>
        <p:sp>
          <p:nvSpPr>
            <p:cNvPr id="12" name="TextBox 11"/>
            <p:cNvSpPr txBox="1"/>
            <p:nvPr/>
          </p:nvSpPr>
          <p:spPr>
            <a:xfrm>
              <a:off x="863061" y="5981883"/>
              <a:ext cx="1859483" cy="1191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eaLnBrk="1" hangingPunct="1">
                <a:lnSpc>
                  <a:spcPct val="86000"/>
                </a:lnSpc>
              </a:pPr>
              <a:r>
                <a:rPr lang="en-US" sz="900" dirty="0" smtClean="0">
                  <a:solidFill>
                    <a:srgbClr val="000000"/>
                  </a:solidFill>
                  <a:ea typeface="ＭＳ Ｐゴシック"/>
                </a:rPr>
                <a:t>* </a:t>
              </a:r>
              <a:r>
                <a:rPr lang="en-US" sz="900" dirty="0">
                  <a:solidFill>
                    <a:srgbClr val="000000"/>
                  </a:solidFill>
                  <a:ea typeface="ＭＳ Ｐゴシック"/>
                </a:rPr>
                <a:t>R</a:t>
              </a:r>
              <a:r>
                <a:rPr lang="en-US" sz="900" dirty="0" smtClean="0">
                  <a:solidFill>
                    <a:srgbClr val="000000"/>
                  </a:solidFill>
                  <a:ea typeface="ＭＳ Ｐゴシック"/>
                </a:rPr>
                <a:t>eported in Santander Group RAS</a:t>
              </a:r>
              <a:endParaRPr lang="en-US" sz="900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72254" y="5975278"/>
              <a:ext cx="593022" cy="1191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900" b="1" dirty="0" smtClean="0"/>
                <a:t>Legend</a:t>
              </a:r>
              <a:endParaRPr lang="en-GB" sz="900" b="1" dirty="0"/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271496" y="263720"/>
            <a:ext cx="8983134" cy="357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3. Risk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Appetite 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tatement – Monthly Metrics (2/3)</a:t>
            </a: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Footnote"/>
          <p:cNvSpPr/>
          <p:nvPr/>
        </p:nvSpPr>
        <p:spPr>
          <a:xfrm>
            <a:off x="2228517" y="6208714"/>
            <a:ext cx="5305757" cy="648575"/>
          </a:xfrm>
          <a:prstGeom prst="rect">
            <a:avLst/>
          </a:prstGeom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14300" indent="-114300" algn="l" eaLnBrk="1" hangingPunct="1">
              <a:buFont typeface="+mj-lt"/>
              <a:buAutoNum type="arabicPeriod"/>
            </a:pPr>
            <a:endParaRPr lang="en-US" sz="700" dirty="0" smtClean="0">
              <a:latin typeface="Arial"/>
              <a:ea typeface="ＭＳ Ｐゴシック"/>
              <a:sym typeface="Arial"/>
            </a:endParaRP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 smtClean="0">
                <a:latin typeface="Arial"/>
                <a:ea typeface="ＭＳ Ｐゴシック"/>
                <a:sym typeface="Arial"/>
              </a:rPr>
              <a:t>Portfolio </a:t>
            </a:r>
            <a:r>
              <a:rPr lang="en-US" sz="700" dirty="0">
                <a:latin typeface="Arial"/>
                <a:ea typeface="ＭＳ Ｐゴシック"/>
                <a:sym typeface="Arial"/>
              </a:rPr>
              <a:t>level granularity available in Entity RAS materials</a:t>
            </a: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>
                <a:latin typeface="Arial"/>
                <a:ea typeface="ＭＳ Ｐゴシック"/>
                <a:sym typeface="Arial"/>
              </a:rPr>
              <a:t>Abbreviation for Personal Lending – Lending Club (sold on Feb 1</a:t>
            </a:r>
            <a:r>
              <a:rPr lang="en-US" sz="700" baseline="30000" dirty="0">
                <a:latin typeface="Arial"/>
                <a:ea typeface="ＭＳ Ｐゴシック"/>
                <a:sym typeface="Arial"/>
              </a:rPr>
              <a:t>st</a:t>
            </a:r>
            <a:r>
              <a:rPr lang="en-US" sz="700" dirty="0">
                <a:latin typeface="Arial"/>
                <a:ea typeface="ＭＳ Ｐゴシック"/>
                <a:sym typeface="Arial"/>
              </a:rPr>
              <a:t>), Bluestem &amp; NCL (Held for Sale)</a:t>
            </a: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>
                <a:latin typeface="Arial"/>
                <a:ea typeface="ＭＳ Ｐゴシック"/>
                <a:sym typeface="Arial"/>
              </a:rPr>
              <a:t># of counterparties with </a:t>
            </a:r>
            <a:r>
              <a:rPr lang="en-US" sz="700" dirty="0" err="1">
                <a:latin typeface="Arial"/>
                <a:ea typeface="ＭＳ Ｐゴシック"/>
                <a:sym typeface="Arial"/>
              </a:rPr>
              <a:t>Sant</a:t>
            </a:r>
            <a:r>
              <a:rPr lang="en-US" sz="700" dirty="0">
                <a:latin typeface="Arial"/>
                <a:ea typeface="ＭＳ Ｐゴシック"/>
                <a:sym typeface="Arial"/>
              </a:rPr>
              <a:t>. Risk Rating &lt; 5.0 &amp; exposure&gt;$</a:t>
            </a:r>
            <a:r>
              <a:rPr lang="en-US" sz="700" dirty="0" smtClean="0">
                <a:latin typeface="Arial"/>
                <a:ea typeface="ＭＳ Ｐゴシック"/>
                <a:sym typeface="Arial"/>
              </a:rPr>
              <a:t>100M</a:t>
            </a:r>
            <a:endParaRPr lang="en-US" sz="700" dirty="0">
              <a:latin typeface="Arial"/>
              <a:ea typeface="ＭＳ Ｐゴシック"/>
              <a:sym typeface="Arial"/>
            </a:endParaRP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>
                <a:ea typeface="ＭＳ Ｐゴシック"/>
              </a:rPr>
              <a:t>Subprime is defined as FICO &lt; 630 or no FICO score available (excluding Commercial </a:t>
            </a:r>
            <a:r>
              <a:rPr lang="en-US" sz="700" dirty="0" smtClean="0">
                <a:ea typeface="ＭＳ Ｐゴシック"/>
              </a:rPr>
              <a:t>Fleets</a:t>
            </a:r>
            <a:r>
              <a:rPr lang="en-US" sz="700" dirty="0" smtClean="0">
                <a:ea typeface="ＭＳ Ｐゴシック"/>
              </a:rPr>
              <a:t>)</a:t>
            </a: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>
                <a:solidFill>
                  <a:srgbClr val="000000"/>
                </a:solidFill>
                <a:ea typeface="ＭＳ Ｐゴシック"/>
              </a:rPr>
              <a:t>Updated limit from </a:t>
            </a:r>
            <a:r>
              <a:rPr lang="en-US" sz="700" dirty="0" smtClean="0">
                <a:solidFill>
                  <a:srgbClr val="000000"/>
                </a:solidFill>
                <a:ea typeface="ＭＳ Ｐゴシック"/>
              </a:rPr>
              <a:t>2015</a:t>
            </a: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 smtClean="0">
                <a:solidFill>
                  <a:srgbClr val="000000"/>
                </a:solidFill>
                <a:ea typeface="ＭＳ Ｐゴシック"/>
              </a:rPr>
              <a:t>Start to report from June 2016</a:t>
            </a:r>
            <a:endParaRPr lang="en-US" sz="700" dirty="0" smtClean="0"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048290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617514"/>
              </p:ext>
            </p:extLst>
          </p:nvPr>
        </p:nvGraphicFramePr>
        <p:xfrm>
          <a:off x="348436" y="704215"/>
          <a:ext cx="8906195" cy="4957440"/>
        </p:xfrm>
        <a:graphic>
          <a:graphicData uri="http://schemas.openxmlformats.org/drawingml/2006/table">
            <a:tbl>
              <a:tblPr firstRow="1" bandRow="1"/>
              <a:tblGrid>
                <a:gridCol w="995625"/>
                <a:gridCol w="2555931"/>
                <a:gridCol w="690993"/>
                <a:gridCol w="705853"/>
                <a:gridCol w="839593"/>
                <a:gridCol w="839593"/>
                <a:gridCol w="839593"/>
                <a:gridCol w="718301"/>
                <a:gridCol w="720713"/>
              </a:tblGrid>
              <a:tr h="24929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quency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ity</a:t>
                      </a:r>
                      <a:r>
                        <a:rPr lang="en-US" sz="1000" b="1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Jun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y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r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24929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idual value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t Residual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Risk / CRLIT</a:t>
                      </a:r>
                      <a:r>
                        <a:rPr lang="en-US" sz="1000" b="0" i="0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68%</a:t>
                      </a:r>
                      <a:endParaRPr lang="en-US" sz="10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63%</a:t>
                      </a:r>
                      <a:endParaRPr lang="en-US" sz="10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32%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-3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-5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 rowSpan="6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/funding</a:t>
                      </a:r>
                      <a:r>
                        <a:rPr lang="en-US" sz="1000" b="0" i="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Stressed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rvival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iod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days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,4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0 days</a:t>
                      </a: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0</a:t>
                      </a:r>
                      <a:r>
                        <a:rPr lang="en-US" sz="10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ays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75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45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Liquidity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verage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tio – EUR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1%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4%</a:t>
                      </a: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6%</a:t>
                      </a: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1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Liquidity Coverage Ratio Modified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US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kern="1200" dirty="0" smtClean="0">
                          <a:solidFill>
                            <a:sysClr val="windowText" lastClr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6%</a:t>
                      </a: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NA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NA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1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Structural Funding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io (%)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kern="1200" dirty="0" smtClean="0">
                          <a:solidFill>
                            <a:sysClr val="windowText" lastClr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7%</a:t>
                      </a: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8%</a:t>
                      </a: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8%</a:t>
                      </a:r>
                      <a:endParaRPr lang="en-US" sz="1000" b="0" i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36058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 Horizon - 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lesale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cenario 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 </a:t>
                      </a:r>
                    </a:p>
                    <a:p>
                      <a:pPr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arent</a:t>
                      </a:r>
                      <a:r>
                        <a:rPr lang="en-US" sz="10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nly)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12 Months</a:t>
                      </a: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en-US" sz="10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2 Months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6  Months</a:t>
                      </a:r>
                    </a:p>
                  </a:txBody>
                  <a:tcPr marL="18288" marR="18288" marT="18288" marB="18288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Asset Encumbrance (%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kern="1200" dirty="0" smtClean="0">
                          <a:solidFill>
                            <a:sysClr val="windowText" lastClr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8%</a:t>
                      </a: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NA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en-US" sz="10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NA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en-US" sz="10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5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6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 rowSpan="2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est rate</a:t>
                      </a:r>
                      <a:r>
                        <a:rPr lang="en-US" sz="1000" b="0" i="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*NII</a:t>
                      </a:r>
                      <a:r>
                        <a:rPr lang="en-US" sz="1000" b="0" i="0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#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Sensitivity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+/- 100bps)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.3%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(137)MM</a:t>
                      </a: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(133)MM</a:t>
                      </a: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-4.5%</a:t>
                      </a:r>
                    </a:p>
                  </a:txBody>
                  <a:tcPr marL="18288" marR="18288" marT="18288" marB="1828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-5.5%</a:t>
                      </a:r>
                    </a:p>
                  </a:txBody>
                  <a:tcPr marL="18288" marR="18288" marT="18288" marB="18288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*MVE</a:t>
                      </a:r>
                      <a:r>
                        <a:rPr lang="en-US" sz="1000" b="0" i="0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#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Sensitivity(+/- 100bps)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6.3%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(992)MM</a:t>
                      </a:r>
                    </a:p>
                  </a:txBody>
                  <a:tcPr marL="0" marR="0" marT="0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(920)MM</a:t>
                      </a:r>
                    </a:p>
                  </a:txBody>
                  <a:tcPr marL="0" marR="0" marT="0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-6.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-7.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TM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rk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to-Market Value at Risk (</a:t>
                      </a:r>
                      <a:r>
                        <a:rPr lang="en-US" sz="1000" b="0" i="0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aR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8M</a:t>
                      </a: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BD</a:t>
                      </a:r>
                      <a:r>
                        <a:rPr lang="en-US" sz="1000" b="0" i="0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  <a:endParaRPr lang="en-US" sz="1000" b="0" i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BD</a:t>
                      </a:r>
                      <a:r>
                        <a:rPr lang="en-US" sz="1000" b="1" i="0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  <a:endParaRPr lang="en-US" sz="1000" b="0" i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7.0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9.0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176739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l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gacy Tier 1 Models in Production w/o Appropriate Approval</a:t>
                      </a:r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: 59 </a:t>
                      </a:r>
                    </a:p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HUSA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  <a:r>
                        <a:rPr lang="en-US" sz="1000" b="1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C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</a:t>
                      </a:r>
                      <a:r>
                        <a:rPr lang="en-US" sz="1000" b="1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BNA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 Other</a:t>
                      </a:r>
                      <a:r>
                        <a:rPr lang="en-US" sz="1000" b="1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kern="1200" baseline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nt</a:t>
                      </a:r>
                      <a:r>
                        <a:rPr lang="en-US" sz="1000" b="1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 </a:t>
                      </a:r>
                      <a:r>
                        <a:rPr lang="en-US" sz="10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</a:t>
                      </a:r>
                      <a:endParaRPr lang="en-US" sz="10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Total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69</a:t>
                      </a:r>
                    </a:p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SHUSA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2</a:t>
                      </a:r>
                    </a:p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18</a:t>
                      </a:r>
                    </a:p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her </a:t>
                      </a:r>
                      <a:r>
                        <a:rPr lang="en-US" sz="1000" b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– 35</a:t>
                      </a:r>
                      <a:endParaRPr lang="en-US" sz="10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100</a:t>
                      </a:r>
                    </a:p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 – 3</a:t>
                      </a:r>
                    </a:p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20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 – 26 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Other </a:t>
                      </a:r>
                      <a:r>
                        <a:rPr lang="en-US" sz="1000" b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ent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51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/A</a:t>
                      </a:r>
                      <a:endParaRPr lang="en-US" sz="10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Q2016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148</a:t>
                      </a:r>
                    </a:p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Q2016 – 116</a:t>
                      </a:r>
                    </a:p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Q2016 – 103</a:t>
                      </a:r>
                    </a:p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Q2016 – 46</a:t>
                      </a:r>
                    </a:p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Q2017 – 0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24929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iance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 Reputational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Open MRIAs and other equivalent matters requiring immediate attention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DD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3</a:t>
                      </a:r>
                      <a:endParaRPr lang="en-US" sz="10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DD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</a:t>
                      </a:r>
                      <a:endParaRPr lang="en-US" sz="10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0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271496" y="263720"/>
            <a:ext cx="8983134" cy="357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3. Risk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Appetite 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tatement – Monthly Metrics (3/3)</a:t>
            </a: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Footnote"/>
          <p:cNvSpPr/>
          <p:nvPr/>
        </p:nvSpPr>
        <p:spPr>
          <a:xfrm>
            <a:off x="2247567" y="6146257"/>
            <a:ext cx="5305757" cy="1032399"/>
          </a:xfrm>
          <a:prstGeom prst="rect">
            <a:avLst/>
          </a:prstGeom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eaLnBrk="1" hangingPunct="1"/>
            <a:endParaRPr lang="en-US" sz="700" dirty="0">
              <a:latin typeface="Arial"/>
              <a:ea typeface="ＭＳ Ｐゴシック"/>
              <a:sym typeface="Arial"/>
            </a:endParaRP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>
                <a:latin typeface="Arial"/>
                <a:ea typeface="ＭＳ Ｐゴシック"/>
                <a:sym typeface="Arial"/>
              </a:rPr>
              <a:t>Portfolio level granularity available in Entity RAS materials</a:t>
            </a: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 smtClean="0">
                <a:latin typeface="Arial"/>
                <a:ea typeface="ＭＳ Ｐゴシック"/>
                <a:sym typeface="Arial"/>
              </a:rPr>
              <a:t>Metric </a:t>
            </a:r>
            <a:r>
              <a:rPr lang="en-US" sz="700" dirty="0">
                <a:latin typeface="Arial"/>
                <a:ea typeface="ＭＳ Ｐゴシック"/>
                <a:sym typeface="Arial"/>
              </a:rPr>
              <a:t>is on a 2-month lag</a:t>
            </a:r>
          </a:p>
          <a:p>
            <a:pPr marL="114300" indent="-114300" algn="l">
              <a:buFont typeface="+mj-lt"/>
              <a:buAutoNum type="arabicPeriod"/>
            </a:pPr>
            <a:r>
              <a:rPr lang="en-US" sz="700" dirty="0">
                <a:latin typeface="Arial"/>
                <a:ea typeface="ＭＳ Ｐゴシック"/>
                <a:sym typeface="Arial"/>
              </a:rPr>
              <a:t>CRLIT Contract Residual less Incentives and Tax; NII: Net Interest Income; MVE: Market Value of Equity</a:t>
            </a:r>
          </a:p>
          <a:p>
            <a:pPr marL="114300" indent="-114300" algn="l">
              <a:buFont typeface="+mj-lt"/>
              <a:buAutoNum type="arabicPeriod"/>
            </a:pPr>
            <a:r>
              <a:rPr lang="en-US" sz="700" dirty="0">
                <a:latin typeface="Arial"/>
                <a:ea typeface="ＭＳ Ｐゴシック"/>
              </a:rPr>
              <a:t>Updated limit from 2015</a:t>
            </a:r>
          </a:p>
          <a:p>
            <a:pPr marL="114300" indent="-114300" algn="l">
              <a:buFont typeface="+mj-lt"/>
              <a:buAutoNum type="arabicPeriod"/>
            </a:pPr>
            <a:r>
              <a:rPr lang="en-US" sz="700" dirty="0">
                <a:latin typeface="Arial"/>
                <a:ea typeface="ＭＳ Ｐゴシック"/>
                <a:sym typeface="Arial"/>
              </a:rPr>
              <a:t>Metric </a:t>
            </a:r>
            <a:r>
              <a:rPr lang="en-US" sz="700" dirty="0" smtClean="0">
                <a:latin typeface="Arial"/>
                <a:ea typeface="ＭＳ Ｐゴシック"/>
                <a:sym typeface="Arial"/>
              </a:rPr>
              <a:t>is not available due </a:t>
            </a:r>
            <a:r>
              <a:rPr lang="en-US" sz="700" dirty="0">
                <a:latin typeface="Arial"/>
                <a:ea typeface="ＭＳ Ｐゴシック"/>
                <a:sym typeface="Arial"/>
              </a:rPr>
              <a:t>to SC system </a:t>
            </a:r>
            <a:r>
              <a:rPr lang="en-US" sz="700" dirty="0" smtClean="0">
                <a:latin typeface="Arial"/>
                <a:ea typeface="ＭＳ Ｐゴシック"/>
                <a:sym typeface="Arial"/>
              </a:rPr>
              <a:t>error</a:t>
            </a:r>
          </a:p>
          <a:p>
            <a:pPr marL="114300" indent="-114300" algn="l">
              <a:buFont typeface="+mj-lt"/>
              <a:buAutoNum type="arabicPeriod"/>
            </a:pPr>
            <a:r>
              <a:rPr lang="en-US" sz="700" dirty="0"/>
              <a:t>IHC exposures will be paired to the SHUSA IHC limits with July end </a:t>
            </a:r>
            <a:r>
              <a:rPr lang="en-US" sz="700" dirty="0" smtClean="0"/>
              <a:t>figures</a:t>
            </a:r>
          </a:p>
          <a:p>
            <a:pPr marL="114300" indent="-114300" algn="l">
              <a:buFont typeface="+mj-lt"/>
              <a:buAutoNum type="arabicPeriod"/>
            </a:pPr>
            <a:r>
              <a:rPr lang="en-US" sz="700" dirty="0">
                <a:solidFill>
                  <a:srgbClr val="000000"/>
                </a:solidFill>
                <a:ea typeface="ＭＳ Ｐゴシック"/>
              </a:rPr>
              <a:t>Start to report from June 2016</a:t>
            </a:r>
            <a:endParaRPr lang="en-US" sz="700" dirty="0"/>
          </a:p>
          <a:p>
            <a:pPr marL="114300" indent="-114300" algn="l">
              <a:buFont typeface="+mj-lt"/>
              <a:buAutoNum type="arabicPeriod"/>
            </a:pPr>
            <a:endParaRPr lang="en-US" sz="700" dirty="0" smtClean="0">
              <a:latin typeface="Arial"/>
              <a:ea typeface="ＭＳ Ｐゴシック"/>
              <a:sym typeface="Arial"/>
            </a:endParaRPr>
          </a:p>
          <a:p>
            <a:pPr marL="114300" indent="-114300" algn="l">
              <a:buFont typeface="+mj-lt"/>
              <a:buAutoNum type="arabicPeriod"/>
            </a:pPr>
            <a:endParaRPr lang="en-US" sz="700" dirty="0">
              <a:latin typeface="Arial"/>
              <a:ea typeface="ＭＳ Ｐゴシック"/>
              <a:sym typeface="Arial"/>
            </a:endParaRPr>
          </a:p>
          <a:p>
            <a:pPr marL="114300" indent="-114300" algn="l">
              <a:buFont typeface="+mj-lt"/>
              <a:buAutoNum type="arabicPeriod"/>
            </a:pPr>
            <a:endParaRPr lang="en-US" sz="700" dirty="0" smtClean="0">
              <a:latin typeface="Arial"/>
              <a:ea typeface="ＭＳ Ｐゴシック"/>
              <a:sym typeface="Arial"/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372254" y="6074960"/>
            <a:ext cx="2327430" cy="125740"/>
            <a:chOff x="372254" y="5975278"/>
            <a:chExt cx="2327430" cy="125740"/>
          </a:xfrm>
        </p:grpSpPr>
        <p:sp>
          <p:nvSpPr>
            <p:cNvPr id="21" name="TextBox 20"/>
            <p:cNvSpPr txBox="1"/>
            <p:nvPr/>
          </p:nvSpPr>
          <p:spPr>
            <a:xfrm>
              <a:off x="840201" y="5981883"/>
              <a:ext cx="1859483" cy="1191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eaLnBrk="1" hangingPunct="1">
                <a:lnSpc>
                  <a:spcPct val="86000"/>
                </a:lnSpc>
              </a:pPr>
              <a:r>
                <a:rPr lang="en-US" sz="900" dirty="0" smtClean="0">
                  <a:solidFill>
                    <a:srgbClr val="000000"/>
                  </a:solidFill>
                  <a:ea typeface="ＭＳ Ｐゴシック"/>
                </a:rPr>
                <a:t>* </a:t>
              </a:r>
              <a:r>
                <a:rPr lang="en-US" sz="900" dirty="0">
                  <a:solidFill>
                    <a:srgbClr val="000000"/>
                  </a:solidFill>
                  <a:ea typeface="ＭＳ Ｐゴシック"/>
                </a:rPr>
                <a:t>R</a:t>
              </a:r>
              <a:r>
                <a:rPr lang="en-US" sz="900" dirty="0" smtClean="0">
                  <a:solidFill>
                    <a:srgbClr val="000000"/>
                  </a:solidFill>
                  <a:ea typeface="ＭＳ Ｐゴシック"/>
                </a:rPr>
                <a:t>eported in Santander Group RAS</a:t>
              </a:r>
              <a:endParaRPr lang="en-US" sz="900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372254" y="5975278"/>
              <a:ext cx="593022" cy="1191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900" b="1" dirty="0" smtClean="0"/>
                <a:t>Legend</a:t>
              </a:r>
              <a:endParaRPr lang="en-GB" sz="9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440879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/>
        </p:nvSpPr>
        <p:spPr>
          <a:xfrm>
            <a:off x="372254" y="6017810"/>
            <a:ext cx="593022" cy="1191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b="1" dirty="0" smtClean="0"/>
              <a:t>Legend</a:t>
            </a:r>
            <a:endParaRPr lang="en-GB" sz="9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271496" y="263720"/>
            <a:ext cx="8983134" cy="357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 Risk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Appetite 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tatement – Quarterly / Annual Metrics</a:t>
            </a: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2619685"/>
              </p:ext>
            </p:extLst>
          </p:nvPr>
        </p:nvGraphicFramePr>
        <p:xfrm>
          <a:off x="348436" y="2104390"/>
          <a:ext cx="8894248" cy="755904"/>
        </p:xfrm>
        <a:graphic>
          <a:graphicData uri="http://schemas.openxmlformats.org/drawingml/2006/table">
            <a:tbl>
              <a:tblPr firstRow="1" bandRow="1"/>
              <a:tblGrid>
                <a:gridCol w="1225183"/>
                <a:gridCol w="3147237"/>
                <a:gridCol w="850604"/>
                <a:gridCol w="871870"/>
                <a:gridCol w="1031358"/>
                <a:gridCol w="883998"/>
                <a:gridCol w="883998"/>
              </a:tblGrid>
              <a:tr h="13542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quency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ity</a:t>
                      </a:r>
                      <a:r>
                        <a:rPr lang="en-US" sz="1000" b="1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r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135420">
                <a:tc rowSpan="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equacy (other)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PNR Impairment (CCAR 9Q)</a:t>
                      </a:r>
                      <a:r>
                        <a:rPr lang="en-US" sz="1000" b="1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4,913M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,639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,861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Loss in Stress</a:t>
                      </a:r>
                      <a:r>
                        <a:rPr lang="en-US" sz="1000" b="1" i="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%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1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 risk (losses)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 Credit Losses </a:t>
                      </a: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CCAR 9Q)</a:t>
                      </a:r>
                      <a:r>
                        <a:rPr lang="en-US" sz="1000" b="1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1,052M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12,686M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13,186M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</a:tbl>
          </a:graphicData>
        </a:graphic>
      </p:graphicFrame>
      <p:sp>
        <p:nvSpPr>
          <p:cNvPr id="11" name="Footnote"/>
          <p:cNvSpPr/>
          <p:nvPr/>
        </p:nvSpPr>
        <p:spPr>
          <a:xfrm>
            <a:off x="2228517" y="6208714"/>
            <a:ext cx="5305757" cy="648575"/>
          </a:xfrm>
          <a:prstGeom prst="rect">
            <a:avLst/>
          </a:prstGeom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14300" indent="-114300" algn="l" eaLnBrk="1" hangingPunct="1">
              <a:buFont typeface="+mj-lt"/>
              <a:buAutoNum type="arabicPeriod"/>
            </a:pPr>
            <a:endParaRPr lang="en-US" sz="700" dirty="0" smtClean="0">
              <a:latin typeface="Arial"/>
              <a:ea typeface="ＭＳ Ｐゴシック"/>
              <a:sym typeface="Arial"/>
            </a:endParaRP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 smtClean="0">
                <a:latin typeface="Arial"/>
                <a:ea typeface="ＭＳ Ｐゴシック"/>
                <a:sym typeface="Arial"/>
              </a:rPr>
              <a:t>Portfolio </a:t>
            </a:r>
            <a:r>
              <a:rPr lang="en-US" sz="700" dirty="0">
                <a:latin typeface="Arial"/>
                <a:ea typeface="ＭＳ Ｐゴシック"/>
                <a:sym typeface="Arial"/>
              </a:rPr>
              <a:t>level granularity available in Entity RAS </a:t>
            </a:r>
            <a:r>
              <a:rPr lang="en-US" sz="700" dirty="0" smtClean="0">
                <a:latin typeface="Arial"/>
                <a:ea typeface="ＭＳ Ｐゴシック"/>
                <a:sym typeface="Arial"/>
              </a:rPr>
              <a:t>materials</a:t>
            </a: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>
                <a:solidFill>
                  <a:srgbClr val="000000"/>
                </a:solidFill>
                <a:ea typeface="ＭＳ Ｐゴシック"/>
              </a:rPr>
              <a:t>Updated limit from 2015</a:t>
            </a:r>
            <a:endParaRPr lang="en-US" sz="700" dirty="0" smtClean="0">
              <a:latin typeface="Arial"/>
              <a:ea typeface="ＭＳ Ｐゴシック"/>
              <a:sym typeface="Arial"/>
            </a:endParaRP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 smtClean="0">
                <a:solidFill>
                  <a:srgbClr val="000000"/>
                </a:solidFill>
                <a:ea typeface="ＭＳ Ｐゴシック"/>
              </a:rPr>
              <a:t>Limits </a:t>
            </a:r>
            <a:r>
              <a:rPr lang="en-US" sz="700" dirty="0">
                <a:solidFill>
                  <a:srgbClr val="000000"/>
                </a:solidFill>
                <a:ea typeface="ＭＳ Ｐゴシック"/>
              </a:rPr>
              <a:t>changed from 5 limit 3 trigger to 2 limit 1.5 </a:t>
            </a:r>
            <a:r>
              <a:rPr lang="en-US" sz="700" dirty="0" smtClean="0">
                <a:solidFill>
                  <a:srgbClr val="000000"/>
                </a:solidFill>
                <a:ea typeface="ＭＳ Ｐゴシック"/>
              </a:rPr>
              <a:t>trigger</a:t>
            </a: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>
                <a:latin typeface="Arial"/>
                <a:ea typeface="ＭＳ Ｐゴシック"/>
              </a:rPr>
              <a:t>C</a:t>
            </a:r>
            <a:r>
              <a:rPr lang="en-US" sz="700" dirty="0" smtClean="0">
                <a:latin typeface="Arial"/>
                <a:ea typeface="ＭＳ Ｐゴシック"/>
              </a:rPr>
              <a:t>hanged </a:t>
            </a:r>
            <a:r>
              <a:rPr lang="en-US" sz="700" dirty="0">
                <a:latin typeface="Arial"/>
                <a:ea typeface="ＭＳ Ｐゴシック"/>
              </a:rPr>
              <a:t>to include all material operational risk </a:t>
            </a:r>
            <a:r>
              <a:rPr lang="en-US" sz="700" dirty="0" smtClean="0">
                <a:latin typeface="Arial"/>
                <a:ea typeface="ＭＳ Ｐゴシック"/>
              </a:rPr>
              <a:t>events from ones </a:t>
            </a:r>
            <a:r>
              <a:rPr lang="en-US" sz="700" dirty="0">
                <a:latin typeface="Arial"/>
                <a:ea typeface="ＭＳ Ｐゴシック"/>
              </a:rPr>
              <a:t>with financial loss of greater than $</a:t>
            </a:r>
            <a:r>
              <a:rPr lang="en-US" sz="700" dirty="0" smtClean="0">
                <a:latin typeface="Arial"/>
                <a:ea typeface="ＭＳ Ｐゴシック"/>
              </a:rPr>
              <a:t>200k (now $500k)</a:t>
            </a: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 smtClean="0">
                <a:latin typeface="Arial"/>
                <a:ea typeface="ＭＳ Ｐゴシック"/>
              </a:rPr>
              <a:t>Apply to </a:t>
            </a:r>
            <a:r>
              <a:rPr lang="en-US" sz="700" dirty="0">
                <a:latin typeface="Arial"/>
                <a:ea typeface="ＭＳ Ｐゴシック"/>
              </a:rPr>
              <a:t>all </a:t>
            </a:r>
            <a:r>
              <a:rPr lang="en-US" sz="700" dirty="0" smtClean="0">
                <a:latin typeface="Arial"/>
                <a:ea typeface="ＭＳ Ｐゴシック"/>
              </a:rPr>
              <a:t>IHC entities </a:t>
            </a:r>
            <a:r>
              <a:rPr lang="en-US" sz="700" dirty="0">
                <a:latin typeface="Arial"/>
                <a:ea typeface="ＭＳ Ｐゴシック"/>
              </a:rPr>
              <a:t>(SBNA, SC, PR Bancorp, SSLLC, SIS, </a:t>
            </a:r>
            <a:r>
              <a:rPr lang="en-US" sz="700" dirty="0" smtClean="0">
                <a:latin typeface="Arial"/>
                <a:ea typeface="ＭＳ Ｐゴシック"/>
              </a:rPr>
              <a:t>BSI) from July reporting</a:t>
            </a:r>
            <a:endParaRPr lang="en-US" sz="700" dirty="0">
              <a:latin typeface="Arial"/>
              <a:ea typeface="ＭＳ Ｐゴシック"/>
            </a:endParaRPr>
          </a:p>
          <a:p>
            <a:pPr marL="114300" indent="-114300" algn="l" eaLnBrk="1" hangingPunct="1">
              <a:buFont typeface="+mj-lt"/>
              <a:buAutoNum type="arabicPeriod"/>
            </a:pPr>
            <a:endParaRPr lang="en-US" sz="700" dirty="0">
              <a:latin typeface="Arial"/>
              <a:ea typeface="ＭＳ Ｐゴシック"/>
              <a:sym typeface="Arial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372254" y="6017810"/>
            <a:ext cx="2316000" cy="125740"/>
            <a:chOff x="372254" y="5975278"/>
            <a:chExt cx="2316000" cy="125740"/>
          </a:xfrm>
        </p:grpSpPr>
        <p:sp>
          <p:nvSpPr>
            <p:cNvPr id="13" name="TextBox 12"/>
            <p:cNvSpPr txBox="1"/>
            <p:nvPr/>
          </p:nvSpPr>
          <p:spPr>
            <a:xfrm>
              <a:off x="828771" y="5981883"/>
              <a:ext cx="1859483" cy="1191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eaLnBrk="1" hangingPunct="1">
                <a:lnSpc>
                  <a:spcPct val="86000"/>
                </a:lnSpc>
              </a:pPr>
              <a:r>
                <a:rPr lang="en-US" sz="900" dirty="0" smtClean="0">
                  <a:solidFill>
                    <a:srgbClr val="000000"/>
                  </a:solidFill>
                  <a:ea typeface="ＭＳ Ｐゴシック"/>
                </a:rPr>
                <a:t>* </a:t>
              </a:r>
              <a:r>
                <a:rPr lang="en-US" sz="900" dirty="0">
                  <a:solidFill>
                    <a:srgbClr val="000000"/>
                  </a:solidFill>
                  <a:ea typeface="ＭＳ Ｐゴシック"/>
                </a:rPr>
                <a:t>R</a:t>
              </a:r>
              <a:r>
                <a:rPr lang="en-US" sz="900" dirty="0" smtClean="0">
                  <a:solidFill>
                    <a:srgbClr val="000000"/>
                  </a:solidFill>
                  <a:ea typeface="ＭＳ Ｐゴシック"/>
                </a:rPr>
                <a:t>eported in Santander Group RAS</a:t>
              </a:r>
              <a:endParaRPr lang="en-US" sz="900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72254" y="5975278"/>
              <a:ext cx="593022" cy="1191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900" b="1" dirty="0" smtClean="0"/>
                <a:t>Legend</a:t>
              </a:r>
              <a:endParaRPr lang="en-GB" sz="900" b="1" dirty="0"/>
            </a:p>
          </p:txBody>
        </p:sp>
      </p:grp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8353366"/>
              </p:ext>
            </p:extLst>
          </p:nvPr>
        </p:nvGraphicFramePr>
        <p:xfrm>
          <a:off x="348436" y="704215"/>
          <a:ext cx="8906195" cy="1129792"/>
        </p:xfrm>
        <a:graphic>
          <a:graphicData uri="http://schemas.openxmlformats.org/drawingml/2006/table">
            <a:tbl>
              <a:tblPr firstRow="1" bandRow="1"/>
              <a:tblGrid>
                <a:gridCol w="995625"/>
                <a:gridCol w="2555931"/>
                <a:gridCol w="690993"/>
                <a:gridCol w="705853"/>
                <a:gridCol w="839593"/>
                <a:gridCol w="839593"/>
                <a:gridCol w="839593"/>
                <a:gridCol w="718301"/>
                <a:gridCol w="720713"/>
              </a:tblGrid>
              <a:tr h="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quency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ity</a:t>
                      </a:r>
                      <a:r>
                        <a:rPr lang="en-US" sz="1000" b="1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Q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Q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/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Q</a:t>
                      </a:r>
                      <a:r>
                        <a:rPr lang="en-US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15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397687">
                <a:tc rowSpan="2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onal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Gross Operational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isk L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ses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ss Margin</a:t>
                      </a:r>
                      <a:r>
                        <a:rPr lang="en-US" sz="1000" b="0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5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</a:t>
                      </a:r>
                    </a:p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trailing 12m)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25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13%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0.96%</a:t>
                      </a: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1.60%</a:t>
                      </a: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.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terial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perational Risk E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ts</a:t>
                      </a:r>
                      <a:r>
                        <a:rPr lang="en-US" sz="1000" b="0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5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9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1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1446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2f19bde990ad741f46f5ea7ce4e19f2444f18fb"/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4&quot;&gt;&lt;elem m_fUsage=&quot;4.86540966304618920000E+000&quot;&gt;&lt;m_msothmcolidx val=&quot;0&quot;/&gt;&lt;m_rgb r=&quot;eb&quot; g=&quot;3&quot; b=&quot;26&quot;/&gt;&lt;m_ppcolschidx tagver0=&quot;23004&quot; tagname0=&quot;m_ppcolschidxUNRECOGNIZED&quot; val=&quot;0&quot;/&gt;&lt;m_nBrightness val=&quot;0&quot;/&gt;&lt;/elem&gt;&lt;elem m_fUsage=&quot;3.88172892307468010000E+000&quot;&gt;&lt;m_msothmcolidx val=&quot;0&quot;/&gt;&lt;m_rgb r=&quot;ff&quot; g=&quot;bf&quot; b=&quot;27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ff&quot; g=&quot;0&quot; b=&quot;0&quot;/&gt;&lt;m_ppcolschidx tagver0=&quot;23004&quot; tagname0=&quot;m_ppcolschidxUNRECOGNIZED&quot; val=&quot;0&quot;/&gt;&lt;m_nBrightness val=&quot;0&quot;/&gt;&lt;/elem&gt;&lt;elem m_fUsage=&quot;8.86293811965250810000E-002&quot;&gt;&lt;m_msothmcolidx val=&quot;0&quot;/&gt;&lt;m_rgb r=&quot;ff&quot; g=&quot;fa&quot; b=&quot;26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ISPRING_RESOURCE_PATHS_HASH_PRESENTER" val="f01d211bc0a0c2ddcfd62f283e8fc92d14a39d5d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ody Slide">
  <a:themeElements>
    <a:clrScheme name="Colour Theme propossal">
      <a:dk1>
        <a:srgbClr val="000000"/>
      </a:dk1>
      <a:lt1>
        <a:sysClr val="window" lastClr="FFFFFF"/>
      </a:lt1>
      <a:dk2>
        <a:srgbClr val="000000"/>
      </a:dk2>
      <a:lt2>
        <a:srgbClr val="7F7F7F"/>
      </a:lt2>
      <a:accent1>
        <a:srgbClr val="FF0000"/>
      </a:accent1>
      <a:accent2>
        <a:srgbClr val="A5A5A5"/>
      </a:accent2>
      <a:accent3>
        <a:srgbClr val="FFFFFF"/>
      </a:accent3>
      <a:accent4>
        <a:srgbClr val="3F3F3F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>
          <a:solidFill>
            <a:schemeClr val="tx1"/>
          </a:solidFill>
        </a:ln>
        <a:effectLst/>
      </a:spPr>
      <a:bodyPr rtlCol="0" anchor="ctr"/>
      <a:lstStyle>
        <a:defPPr algn="ctr">
          <a:defRPr sz="120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UI/customUI14.xml><?xml version="1.0" encoding="utf-8"?>
<mso:customUI xmlns:mso="http://schemas.microsoft.com/office/2009/07/customui">
  <mso:ribbon>
    <mso:contextualTabs>
      <mso:tabSet idMso="TabSetTableTools">
        <mso:tab idQ="mso:TabTableToolsDesign">
          <mso:group idQ="mso:GroupTableStylesPowerPoint" visible="false"/>
          <mso:group id="OWTable" label="Table" autoScale="true">
            <mso:gallery idQ="mso:ShadingColorPicker" showInRibbon="false" visible="true"/>
            <mso:control idQ="mso:TableBordersMenu" visible="true"/>
          </mso:group>
        </mso:tab>
      </mso:tabSet>
    </mso:contextualTabs>
  </mso:ribbon>
</mso:customUI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8022</TotalTime>
  <Words>1730</Words>
  <Application>Microsoft Office PowerPoint</Application>
  <PresentationFormat>Custom</PresentationFormat>
  <Paragraphs>525</Paragraphs>
  <Slides>7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1_Body Slid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Oliver Wyman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ng, Wanxin</dc:creator>
  <cp:keywords>Template version: 2015/07/23;Update Pack: 2015/09/15</cp:keywords>
  <cp:lastModifiedBy>Zhang, Zhiyi</cp:lastModifiedBy>
  <cp:revision>1506</cp:revision>
  <cp:lastPrinted>2016-08-03T15:31:32Z</cp:lastPrinted>
  <dcterms:created xsi:type="dcterms:W3CDTF">2016-03-28T17:49:32Z</dcterms:created>
  <dcterms:modified xsi:type="dcterms:W3CDTF">2016-08-23T13:54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Version">
    <vt:lpwstr>2015/07/23</vt:lpwstr>
  </property>
  <property fmtid="{D5CDD505-2E9C-101B-9397-08002B2CF9AE}" pid="3" name="DocumentMSOLanguageID">
    <vt:lpwstr>msoLanguageIDEnglishUK</vt:lpwstr>
  </property>
  <property fmtid="{D5CDD505-2E9C-101B-9397-08002B2CF9AE}" pid="4" name="LogoName">
    <vt:lpwstr>Oliver Wyman</vt:lpwstr>
  </property>
</Properties>
</file>